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86" r:id="rId2"/>
    <p:sldMasterId id="2147483699" r:id="rId3"/>
  </p:sldMasterIdLst>
  <p:notesMasterIdLst>
    <p:notesMasterId r:id="rId33"/>
  </p:notesMasterIdLst>
  <p:handoutMasterIdLst>
    <p:handoutMasterId r:id="rId34"/>
  </p:handoutMasterIdLst>
  <p:sldIdLst>
    <p:sldId id="481" r:id="rId4"/>
    <p:sldId id="1179" r:id="rId5"/>
    <p:sldId id="1180" r:id="rId6"/>
    <p:sldId id="1146" r:id="rId7"/>
    <p:sldId id="1346" r:id="rId8"/>
    <p:sldId id="1421" r:id="rId9"/>
    <p:sldId id="1447" r:id="rId10"/>
    <p:sldId id="1448" r:id="rId11"/>
    <p:sldId id="1449" r:id="rId12"/>
    <p:sldId id="1450" r:id="rId13"/>
    <p:sldId id="1443" r:id="rId14"/>
    <p:sldId id="1444" r:id="rId15"/>
    <p:sldId id="1445" r:id="rId16"/>
    <p:sldId id="1446" r:id="rId17"/>
    <p:sldId id="1362" r:id="rId18"/>
    <p:sldId id="1356" r:id="rId19"/>
    <p:sldId id="1357" r:id="rId20"/>
    <p:sldId id="1431" r:id="rId21"/>
    <p:sldId id="1432" r:id="rId22"/>
    <p:sldId id="1433" r:id="rId23"/>
    <p:sldId id="1434" r:id="rId24"/>
    <p:sldId id="1435" r:id="rId25"/>
    <p:sldId id="1436" r:id="rId26"/>
    <p:sldId id="1437" r:id="rId27"/>
    <p:sldId id="1438" r:id="rId28"/>
    <p:sldId id="1439" r:id="rId29"/>
    <p:sldId id="1440" r:id="rId30"/>
    <p:sldId id="1441" r:id="rId31"/>
    <p:sldId id="1442" r:id="rId32"/>
  </p:sldIdLst>
  <p:sldSz cx="9144000" cy="6858000" type="screen4x3"/>
  <p:notesSz cx="6864350" cy="999648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69696"/>
    <a:srgbClr val="F8F8F8"/>
    <a:srgbClr val="EAEAEA"/>
    <a:srgbClr val="CCECFF"/>
    <a:srgbClr val="FFCCFF"/>
    <a:srgbClr val="B2B2B2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94434" autoAdjust="0"/>
  </p:normalViewPr>
  <p:slideViewPr>
    <p:cSldViewPr>
      <p:cViewPr varScale="1">
        <p:scale>
          <a:sx n="74" d="100"/>
          <a:sy n="74" d="100"/>
        </p:scale>
        <p:origin x="123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Projetos%20(local)\Abrainc\_Relat&#243;rios\201504\Consolidado_Final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Projetos%20(local)\Abrainc\_Relat&#243;rios\201504\Indicadores%20de%20Mercado\Brookfield\Indicadores_Compostos_Brookfield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Indicadores%20de%20Mercado\Brookfield\Indicadores_Compostos_Brookfiel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Indicadores%20de%20Mercado\Brookfield\Indicadores_Compostos_Brookfield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rojetos%20(local)\Abrainc\_Relat&#243;rios\201504\Indicadores%20de%20Mercado\Brookfield\Indicadores_Compostos_Brookfield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pt-BR" sz="1200" b="1" i="0" u="none" strike="noStrike" kern="1200" baseline="0" dirty="0" smtClean="0">
                <a:solidFill>
                  <a:prstClr val="black"/>
                </a:solidFill>
                <a:latin typeface="+mj-lt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Consolidado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2948007022578969E-2"/>
          <c:y val="8.2150455338155196E-2"/>
          <c:w val="0.95410398595484203"/>
          <c:h val="0.752826844525630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ncamento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ancamento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Lancamento!$D$2:$D$15</c:f>
              <c:numCache>
                <c:formatCode>_-* #.##0_-;\-* #.##0_-;_-* "-"??_-;_-@_-</c:formatCode>
                <c:ptCount val="14"/>
                <c:pt idx="0">
                  <c:v>1286</c:v>
                </c:pt>
                <c:pt idx="1">
                  <c:v>3047</c:v>
                </c:pt>
                <c:pt idx="2">
                  <c:v>11036</c:v>
                </c:pt>
                <c:pt idx="3">
                  <c:v>3087</c:v>
                </c:pt>
                <c:pt idx="4">
                  <c:v>7299</c:v>
                </c:pt>
                <c:pt idx="5">
                  <c:v>7578</c:v>
                </c:pt>
                <c:pt idx="6">
                  <c:v>1392</c:v>
                </c:pt>
                <c:pt idx="7">
                  <c:v>2534</c:v>
                </c:pt>
                <c:pt idx="8">
                  <c:v>8754</c:v>
                </c:pt>
                <c:pt idx="9">
                  <c:v>2563</c:v>
                </c:pt>
                <c:pt idx="10">
                  <c:v>5138</c:v>
                </c:pt>
                <c:pt idx="11">
                  <c:v>13948</c:v>
                </c:pt>
                <c:pt idx="12">
                  <c:v>1627</c:v>
                </c:pt>
                <c:pt idx="13">
                  <c:v>23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45927824"/>
        <c:axId val="245927432"/>
      </c:barChart>
      <c:catAx>
        <c:axId val="245927824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45927432"/>
        <c:crosses val="autoZero"/>
        <c:auto val="1"/>
        <c:lblAlgn val="ctr"/>
        <c:lblOffset val="100"/>
        <c:noMultiLvlLbl val="1"/>
      </c:catAx>
      <c:valAx>
        <c:axId val="245927432"/>
        <c:scaling>
          <c:orientation val="minMax"/>
          <c:max val="1600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245927824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dirty="0" smtClean="0">
                <a:latin typeface="+mn-lt"/>
              </a:rPr>
              <a:t>Consolidado</a:t>
            </a:r>
          </a:p>
        </c:rich>
      </c:tx>
      <c:layout>
        <c:manualLayout>
          <c:xMode val="edge"/>
          <c:yMode val="edge"/>
          <c:x val="0.46211529476046975"/>
          <c:y val="3.023809523809523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8960505103396169E-2"/>
          <c:y val="9.6901100432561657E-2"/>
          <c:w val="0.96805125128813407"/>
          <c:h val="0.733660800909076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ncamento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6.04761904761904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ancamento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Lancamento!$O$2:$O$15</c:f>
              <c:numCache>
                <c:formatCode>_-* #.##0_-;\-* #.##0_-;_-* "-"??_-;_-@_-</c:formatCode>
                <c:ptCount val="14"/>
                <c:pt idx="0">
                  <c:v>0.25044645851999997</c:v>
                </c:pt>
                <c:pt idx="1">
                  <c:v>1.04424505034</c:v>
                </c:pt>
                <c:pt idx="2">
                  <c:v>2.9414538825799998</c:v>
                </c:pt>
                <c:pt idx="3">
                  <c:v>1.1477205405299999</c:v>
                </c:pt>
                <c:pt idx="4">
                  <c:v>2.1455343133599998</c:v>
                </c:pt>
                <c:pt idx="5">
                  <c:v>1.66259717322</c:v>
                </c:pt>
                <c:pt idx="6">
                  <c:v>0.21789755349999998</c:v>
                </c:pt>
                <c:pt idx="7">
                  <c:v>0.95629796452999993</c:v>
                </c:pt>
                <c:pt idx="8">
                  <c:v>2.01949671743</c:v>
                </c:pt>
                <c:pt idx="9">
                  <c:v>1.19198011009</c:v>
                </c:pt>
                <c:pt idx="10">
                  <c:v>1.9326428128499997</c:v>
                </c:pt>
                <c:pt idx="11">
                  <c:v>2.6338314296800003</c:v>
                </c:pt>
                <c:pt idx="12">
                  <c:v>0.45172753918000003</c:v>
                </c:pt>
                <c:pt idx="13">
                  <c:v>0.44952662395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45924296"/>
        <c:axId val="245925080"/>
      </c:barChart>
      <c:catAx>
        <c:axId val="245924296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45925080"/>
        <c:crosses val="autoZero"/>
        <c:auto val="1"/>
        <c:lblAlgn val="ctr"/>
        <c:lblOffset val="100"/>
        <c:noMultiLvlLbl val="1"/>
      </c:catAx>
      <c:valAx>
        <c:axId val="245925080"/>
        <c:scaling>
          <c:orientation val="minMax"/>
          <c:max val="3.5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24592429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BR" sz="1200" b="1" i="0" baseline="0" dirty="0" smtClean="0">
                <a:effectLst/>
              </a:rPr>
              <a:t>Consolidado</a:t>
            </a:r>
            <a:endParaRPr lang="pt-BR" sz="1200" dirty="0" smtClean="0">
              <a:effectLst/>
            </a:endParaRP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7254832620122222E-2"/>
          <c:y val="8.3254929690589577E-2"/>
          <c:w val="0.96837600958187309"/>
          <c:h val="0.740642281765949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enda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4"/>
              <c:layout>
                <c:manualLayout>
                  <c:x val="-5.834694235824433E-17"/>
                  <c:y val="1.51190476190475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end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Venda!$D$2:$D$15</c:f>
              <c:numCache>
                <c:formatCode>#,##0</c:formatCode>
                <c:ptCount val="14"/>
                <c:pt idx="0">
                  <c:v>8287</c:v>
                </c:pt>
                <c:pt idx="1">
                  <c:v>9274</c:v>
                </c:pt>
                <c:pt idx="2">
                  <c:v>10916</c:v>
                </c:pt>
                <c:pt idx="3">
                  <c:v>8575</c:v>
                </c:pt>
                <c:pt idx="4">
                  <c:v>11662</c:v>
                </c:pt>
                <c:pt idx="5">
                  <c:v>9765</c:v>
                </c:pt>
                <c:pt idx="6">
                  <c:v>8696</c:v>
                </c:pt>
                <c:pt idx="7">
                  <c:v>9548</c:v>
                </c:pt>
                <c:pt idx="8">
                  <c:v>9744</c:v>
                </c:pt>
                <c:pt idx="9">
                  <c:v>8891</c:v>
                </c:pt>
                <c:pt idx="10">
                  <c:v>8988</c:v>
                </c:pt>
                <c:pt idx="11">
                  <c:v>11147</c:v>
                </c:pt>
                <c:pt idx="12">
                  <c:v>6458</c:v>
                </c:pt>
                <c:pt idx="13">
                  <c:v>75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45921552"/>
        <c:axId val="245925472"/>
      </c:barChart>
      <c:catAx>
        <c:axId val="245921552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45925472"/>
        <c:crosses val="autoZero"/>
        <c:auto val="1"/>
        <c:lblAlgn val="ctr"/>
        <c:lblOffset val="100"/>
        <c:noMultiLvlLbl val="1"/>
      </c:catAx>
      <c:valAx>
        <c:axId val="245925472"/>
        <c:scaling>
          <c:orientation val="minMax"/>
          <c:max val="13000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245921552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lang="pt-BR" sz="1200" b="1" i="0" u="none" strike="noStrike" kern="120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rPr>
              <a:t>Consolidado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8825696955061432E-2"/>
          <c:y val="8.4153361387299008E-2"/>
          <c:w val="0.96234860608987716"/>
          <c:h val="0.754862880716367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Venda!$O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enda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Venda!$O$2:$O$15</c:f>
              <c:numCache>
                <c:formatCode>#,##0</c:formatCode>
                <c:ptCount val="14"/>
                <c:pt idx="0">
                  <c:v>1.7248384733600002</c:v>
                </c:pt>
                <c:pt idx="1">
                  <c:v>2.05625825098</c:v>
                </c:pt>
                <c:pt idx="2">
                  <c:v>2.3082213845700004</c:v>
                </c:pt>
                <c:pt idx="3">
                  <c:v>2.0972179728499998</c:v>
                </c:pt>
                <c:pt idx="4">
                  <c:v>2.5552634461600001</c:v>
                </c:pt>
                <c:pt idx="5">
                  <c:v>2.0643684105800002</c:v>
                </c:pt>
                <c:pt idx="6">
                  <c:v>1.7287665898600002</c:v>
                </c:pt>
                <c:pt idx="7">
                  <c:v>2.1547395856999998</c:v>
                </c:pt>
                <c:pt idx="8">
                  <c:v>2.2394767077400002</c:v>
                </c:pt>
                <c:pt idx="9">
                  <c:v>2.0972487695499997</c:v>
                </c:pt>
                <c:pt idx="10">
                  <c:v>2.27499141874</c:v>
                </c:pt>
                <c:pt idx="11">
                  <c:v>2.5620262230699993</c:v>
                </c:pt>
                <c:pt idx="12">
                  <c:v>1.4444653569400001</c:v>
                </c:pt>
                <c:pt idx="13">
                  <c:v>1.663928313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45928216"/>
        <c:axId val="245926648"/>
      </c:barChart>
      <c:catAx>
        <c:axId val="245928216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45926648"/>
        <c:crosses val="autoZero"/>
        <c:auto val="1"/>
        <c:lblAlgn val="ctr"/>
        <c:lblOffset val="100"/>
        <c:noMultiLvlLbl val="1"/>
      </c:catAx>
      <c:valAx>
        <c:axId val="245926648"/>
        <c:scaling>
          <c:orientation val="minMax"/>
          <c:max val="3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24592821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pt-BR" sz="1200" b="1" i="0" u="none" strike="noStrike" kern="1200" baseline="0" dirty="0" smtClean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rPr>
              <a:t>Consolidado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9.547791772434774E-3"/>
          <c:y val="8.8776496473300617E-2"/>
          <c:w val="0.96499143016773914"/>
          <c:h val="0.735120652646596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Estoque!$D$1</c:f>
              <c:strCache>
                <c:ptCount val="1"/>
                <c:pt idx="0">
                  <c:v>Som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 i="0" baseline="0">
                    <a:latin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stoque!$A$2:$A$15</c:f>
              <c:strCache>
                <c:ptCount val="14"/>
                <c:pt idx="0">
                  <c:v>Jan/14</c:v>
                </c:pt>
                <c:pt idx="1">
                  <c:v>Fev/14</c:v>
                </c:pt>
                <c:pt idx="2">
                  <c:v>Mar/14</c:v>
                </c:pt>
                <c:pt idx="3">
                  <c:v>Abr/14</c:v>
                </c:pt>
                <c:pt idx="4">
                  <c:v>Mai/14</c:v>
                </c:pt>
                <c:pt idx="5">
                  <c:v>Jun/14</c:v>
                </c:pt>
                <c:pt idx="6">
                  <c:v>Jul/14</c:v>
                </c:pt>
                <c:pt idx="7">
                  <c:v>Ago/14</c:v>
                </c:pt>
                <c:pt idx="8">
                  <c:v>Set/14</c:v>
                </c:pt>
                <c:pt idx="9">
                  <c:v>Out/14</c:v>
                </c:pt>
                <c:pt idx="10">
                  <c:v>Nov/14</c:v>
                </c:pt>
                <c:pt idx="11">
                  <c:v>Dez/14</c:v>
                </c:pt>
                <c:pt idx="12">
                  <c:v>Jan/15</c:v>
                </c:pt>
                <c:pt idx="13">
                  <c:v>Fev/15</c:v>
                </c:pt>
              </c:strCache>
            </c:strRef>
          </c:cat>
          <c:val>
            <c:numRef>
              <c:f>Estoque!$D$2:$D$15</c:f>
              <c:numCache>
                <c:formatCode>_-* #.##0_-;\-* #.##0_-;_-* "-"??_-;_-@_-</c:formatCode>
                <c:ptCount val="14"/>
                <c:pt idx="0">
                  <c:v>101155</c:v>
                </c:pt>
                <c:pt idx="1">
                  <c:v>98210</c:v>
                </c:pt>
                <c:pt idx="2">
                  <c:v>102220</c:v>
                </c:pt>
                <c:pt idx="3">
                  <c:v>99435</c:v>
                </c:pt>
                <c:pt idx="4">
                  <c:v>98702</c:v>
                </c:pt>
                <c:pt idx="5">
                  <c:v>100201</c:v>
                </c:pt>
                <c:pt idx="6">
                  <c:v>97021</c:v>
                </c:pt>
                <c:pt idx="7">
                  <c:v>90660</c:v>
                </c:pt>
                <c:pt idx="8">
                  <c:v>95327</c:v>
                </c:pt>
                <c:pt idx="9">
                  <c:v>92921</c:v>
                </c:pt>
                <c:pt idx="10">
                  <c:v>92565</c:v>
                </c:pt>
                <c:pt idx="11">
                  <c:v>97942</c:v>
                </c:pt>
                <c:pt idx="12">
                  <c:v>97377</c:v>
                </c:pt>
                <c:pt idx="13">
                  <c:v>935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45920768"/>
        <c:axId val="247177128"/>
      </c:barChart>
      <c:catAx>
        <c:axId val="245920768"/>
        <c:scaling>
          <c:orientation val="minMax"/>
        </c:scaling>
        <c:delete val="0"/>
        <c:axPos val="b"/>
        <c:numFmt formatCode="mmm/yyyy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Segoe UI" panose="020B0502040204020203" pitchFamily="34" charset="0"/>
                <a:cs typeface="Segoe UI" panose="020B0502040204020203" pitchFamily="34" charset="0"/>
              </a:defRPr>
            </a:pPr>
            <a:endParaRPr lang="pt-BR"/>
          </a:p>
        </c:txPr>
        <c:crossAx val="247177128"/>
        <c:crosses val="autoZero"/>
        <c:auto val="1"/>
        <c:lblAlgn val="ctr"/>
        <c:lblOffset val="100"/>
        <c:noMultiLvlLbl val="1"/>
      </c:catAx>
      <c:valAx>
        <c:axId val="247177128"/>
        <c:scaling>
          <c:orientation val="minMax"/>
          <c:max val="120000"/>
          <c:min val="0"/>
        </c:scaling>
        <c:delete val="1"/>
        <c:axPos val="l"/>
        <c:numFmt formatCode="_-* #.##0_-;\-* #.##0_-;_-* &quot;-&quot;??_-;_-@_-" sourceLinked="1"/>
        <c:majorTickMark val="out"/>
        <c:minorTickMark val="none"/>
        <c:tickLblPos val="nextTo"/>
        <c:crossAx val="245920768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2741550195186503E-2"/>
          <c:y val="3.8654620001842804E-2"/>
          <c:w val="0.96973881828643205"/>
          <c:h val="0.87982535969963949"/>
        </c:manualLayout>
      </c:layout>
      <c:lineChart>
        <c:grouping val="standard"/>
        <c:varyColors val="0"/>
        <c:ser>
          <c:idx val="0"/>
          <c:order val="0"/>
          <c:spPr>
            <a:ln w="38100" cap="rnd">
              <a:solidFill>
                <a:srgbClr val="0F6FC6">
                  <a:lumMod val="60000"/>
                  <a:lumOff val="40000"/>
                </a:srgb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Venda&amp;Estoque'!$A$2:$A$15</c:f>
              <c:numCache>
                <c:formatCode>mmm\-yy</c:formatCode>
                <c:ptCount val="14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</c:numCache>
            </c:numRef>
          </c:cat>
          <c:val>
            <c:numRef>
              <c:f>'Venda&amp;Estoque'!$B$2:$B$15</c:f>
              <c:numCache>
                <c:formatCode>0%</c:formatCode>
                <c:ptCount val="14"/>
                <c:pt idx="0">
                  <c:v>8.1923780337106428E-2</c:v>
                </c:pt>
                <c:pt idx="1">
                  <c:v>9.4430302413196207E-2</c:v>
                </c:pt>
                <c:pt idx="2">
                  <c:v>0.10678927802778321</c:v>
                </c:pt>
                <c:pt idx="3">
                  <c:v>8.6237240408306937E-2</c:v>
                </c:pt>
                <c:pt idx="4">
                  <c:v>0.11815363417154667</c:v>
                </c:pt>
                <c:pt idx="5">
                  <c:v>9.7454117224378994E-2</c:v>
                </c:pt>
                <c:pt idx="6">
                  <c:v>8.9630080085754626E-2</c:v>
                </c:pt>
                <c:pt idx="7">
                  <c:v>0.10531656739466137</c:v>
                </c:pt>
                <c:pt idx="8">
                  <c:v>0.10221658082180285</c:v>
                </c:pt>
                <c:pt idx="9">
                  <c:v>9.5683430010438969E-2</c:v>
                </c:pt>
                <c:pt idx="10">
                  <c:v>9.7099335602009396E-2</c:v>
                </c:pt>
                <c:pt idx="11">
                  <c:v>0.11381225623328092</c:v>
                </c:pt>
                <c:pt idx="12">
                  <c:v>6.6319562114256964E-2</c:v>
                </c:pt>
                <c:pt idx="13">
                  <c:v>8.029064486830155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7173992"/>
        <c:axId val="247179480"/>
      </c:lineChart>
      <c:dateAx>
        <c:axId val="24717399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47179480"/>
        <c:crosses val="autoZero"/>
        <c:auto val="1"/>
        <c:lblOffset val="100"/>
        <c:baseTimeUnit val="months"/>
      </c:dateAx>
      <c:valAx>
        <c:axId val="247179480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247173992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Distrato&amp;Entregas'!$A$4:$A$15</c:f>
              <c:numCache>
                <c:formatCode>mmm\-yy</c:formatCode>
                <c:ptCount val="12"/>
                <c:pt idx="0">
                  <c:v>41699</c:v>
                </c:pt>
                <c:pt idx="1">
                  <c:v>41730</c:v>
                </c:pt>
                <c:pt idx="2">
                  <c:v>41760</c:v>
                </c:pt>
                <c:pt idx="3">
                  <c:v>41791</c:v>
                </c:pt>
                <c:pt idx="4">
                  <c:v>41821</c:v>
                </c:pt>
                <c:pt idx="5">
                  <c:v>41852</c:v>
                </c:pt>
                <c:pt idx="6">
                  <c:v>41883</c:v>
                </c:pt>
                <c:pt idx="7">
                  <c:v>41913</c:v>
                </c:pt>
                <c:pt idx="8">
                  <c:v>41944</c:v>
                </c:pt>
                <c:pt idx="9">
                  <c:v>41974</c:v>
                </c:pt>
                <c:pt idx="10">
                  <c:v>42005</c:v>
                </c:pt>
                <c:pt idx="11">
                  <c:v>42036</c:v>
                </c:pt>
              </c:numCache>
            </c:numRef>
          </c:cat>
          <c:val>
            <c:numRef>
              <c:f>'Distrato&amp;Entregas'!$B$4:$B$15</c:f>
              <c:numCache>
                <c:formatCode>0%</c:formatCode>
                <c:ptCount val="12"/>
                <c:pt idx="0">
                  <c:v>0.1991801659423153</c:v>
                </c:pt>
                <c:pt idx="1">
                  <c:v>0.21171673167519375</c:v>
                </c:pt>
                <c:pt idx="2">
                  <c:v>0.30289614462276332</c:v>
                </c:pt>
                <c:pt idx="3">
                  <c:v>0.34118160017440591</c:v>
                </c:pt>
                <c:pt idx="4">
                  <c:v>0.35701068690759413</c:v>
                </c:pt>
                <c:pt idx="5">
                  <c:v>0.3074337899543379</c:v>
                </c:pt>
                <c:pt idx="6">
                  <c:v>0.22883253958038358</c:v>
                </c:pt>
                <c:pt idx="7">
                  <c:v>0.19526068533529845</c:v>
                </c:pt>
                <c:pt idx="8">
                  <c:v>0.17799961929739219</c:v>
                </c:pt>
                <c:pt idx="9">
                  <c:v>0.17142742356675103</c:v>
                </c:pt>
                <c:pt idx="10">
                  <c:v>0.1979413917788771</c:v>
                </c:pt>
                <c:pt idx="11">
                  <c:v>0.21032854564782083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7176736"/>
        <c:axId val="247174384"/>
      </c:lineChart>
      <c:dateAx>
        <c:axId val="24717673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47174384"/>
        <c:crosses val="autoZero"/>
        <c:auto val="1"/>
        <c:lblOffset val="100"/>
        <c:baseTimeUnit val="months"/>
      </c:dateAx>
      <c:valAx>
        <c:axId val="247174384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24717673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Distrato&amp;Estoques'!$A$4:$A$15</c:f>
              <c:numCache>
                <c:formatCode>mmm\-yy</c:formatCode>
                <c:ptCount val="12"/>
                <c:pt idx="0">
                  <c:v>41699</c:v>
                </c:pt>
                <c:pt idx="1">
                  <c:v>41730</c:v>
                </c:pt>
                <c:pt idx="2">
                  <c:v>41760</c:v>
                </c:pt>
                <c:pt idx="3">
                  <c:v>41791</c:v>
                </c:pt>
                <c:pt idx="4">
                  <c:v>41821</c:v>
                </c:pt>
                <c:pt idx="5">
                  <c:v>41852</c:v>
                </c:pt>
                <c:pt idx="6">
                  <c:v>41883</c:v>
                </c:pt>
                <c:pt idx="7">
                  <c:v>41913</c:v>
                </c:pt>
                <c:pt idx="8">
                  <c:v>41944</c:v>
                </c:pt>
                <c:pt idx="9">
                  <c:v>41974</c:v>
                </c:pt>
                <c:pt idx="10">
                  <c:v>42005</c:v>
                </c:pt>
                <c:pt idx="11">
                  <c:v>42036</c:v>
                </c:pt>
              </c:numCache>
            </c:numRef>
          </c:cat>
          <c:val>
            <c:numRef>
              <c:f>'Distrato&amp;Estoques'!$B$4:$B$15</c:f>
              <c:numCache>
                <c:formatCode>#,#00%</c:formatCode>
                <c:ptCount val="12"/>
                <c:pt idx="0">
                  <c:v>2.6745362004078451E-2</c:v>
                </c:pt>
                <c:pt idx="1">
                  <c:v>2.7875877478198523E-2</c:v>
                </c:pt>
                <c:pt idx="2">
                  <c:v>3.2800966849449158E-2</c:v>
                </c:pt>
                <c:pt idx="3">
                  <c:v>3.1474367998712872E-2</c:v>
                </c:pt>
                <c:pt idx="4">
                  <c:v>3.1947391897919737E-2</c:v>
                </c:pt>
                <c:pt idx="5">
                  <c:v>2.9234200123661777E-2</c:v>
                </c:pt>
                <c:pt idx="6">
                  <c:v>3.1409006105834462E-2</c:v>
                </c:pt>
                <c:pt idx="7">
                  <c:v>3.0400705609018027E-2</c:v>
                </c:pt>
                <c:pt idx="8">
                  <c:v>2.9970122465840257E-2</c:v>
                </c:pt>
                <c:pt idx="9">
                  <c:v>3.010993973778173E-2</c:v>
                </c:pt>
                <c:pt idx="10">
                  <c:v>3.0995123035667142E-2</c:v>
                </c:pt>
                <c:pt idx="11">
                  <c:v>2.9449228809569961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7179872"/>
        <c:axId val="247177520"/>
      </c:lineChart>
      <c:dateAx>
        <c:axId val="24717987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47177520"/>
        <c:crosses val="autoZero"/>
        <c:auto val="1"/>
        <c:lblOffset val="100"/>
        <c:baseTimeUnit val="months"/>
      </c:dateAx>
      <c:valAx>
        <c:axId val="247177520"/>
        <c:scaling>
          <c:orientation val="minMax"/>
          <c:max val="5.000000000000001E-2"/>
          <c:min val="2.0000000000000004E-2"/>
        </c:scaling>
        <c:delete val="1"/>
        <c:axPos val="l"/>
        <c:numFmt formatCode="#,#00%" sourceLinked="1"/>
        <c:majorTickMark val="out"/>
        <c:minorTickMark val="none"/>
        <c:tickLblPos val="nextTo"/>
        <c:crossAx val="247179872"/>
        <c:crosses val="autoZero"/>
        <c:crossBetween val="between"/>
        <c:majorUnit val="1.0000000000000002E-2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634303224370903E-3"/>
          <c:y val="4.08014491085891E-2"/>
          <c:w val="0.97205361408642821"/>
          <c:h val="0.8754323288836291"/>
        </c:manualLayout>
      </c:layout>
      <c:lineChart>
        <c:grouping val="standard"/>
        <c:varyColors val="0"/>
        <c:ser>
          <c:idx val="0"/>
          <c:order val="0"/>
          <c:spPr>
            <a:ln w="3810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SAP&amp;Credor'!$A$2:$A$15</c:f>
              <c:numCache>
                <c:formatCode>mmm\-yy</c:formatCode>
                <c:ptCount val="14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</c:numCache>
            </c:numRef>
          </c:cat>
          <c:val>
            <c:numRef>
              <c:f>'SAP&amp;Credor'!$B$2:$B$15</c:f>
              <c:numCache>
                <c:formatCode>0%</c:formatCode>
                <c:ptCount val="14"/>
                <c:pt idx="0">
                  <c:v>0.12297095936766571</c:v>
                </c:pt>
                <c:pt idx="1">
                  <c:v>0.12051823113167442</c:v>
                </c:pt>
                <c:pt idx="2">
                  <c:v>0.14153462021225521</c:v>
                </c:pt>
                <c:pt idx="3">
                  <c:v>0.12493172325058735</c:v>
                </c:pt>
                <c:pt idx="4">
                  <c:v>0.15731799247710632</c:v>
                </c:pt>
                <c:pt idx="5">
                  <c:v>0.10875359882662357</c:v>
                </c:pt>
                <c:pt idx="6">
                  <c:v>0.10666722792443518</c:v>
                </c:pt>
                <c:pt idx="7">
                  <c:v>0.10229238139658446</c:v>
                </c:pt>
                <c:pt idx="8">
                  <c:v>0.10079579169921854</c:v>
                </c:pt>
                <c:pt idx="9">
                  <c:v>0.10320052401563912</c:v>
                </c:pt>
                <c:pt idx="10">
                  <c:v>9.9978038006881792E-2</c:v>
                </c:pt>
                <c:pt idx="11">
                  <c:v>0.12024902382818971</c:v>
                </c:pt>
                <c:pt idx="12">
                  <c:v>0.13356571774570111</c:v>
                </c:pt>
                <c:pt idx="13">
                  <c:v>9.6862238520327729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7172816"/>
        <c:axId val="247178696"/>
      </c:lineChart>
      <c:dateAx>
        <c:axId val="24717281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47178696"/>
        <c:crosses val="autoZero"/>
        <c:auto val="1"/>
        <c:lblOffset val="100"/>
        <c:baseTimeUnit val="months"/>
      </c:dateAx>
      <c:valAx>
        <c:axId val="247178696"/>
        <c:scaling>
          <c:orientation val="minMax"/>
          <c:max val="0.2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24717281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7788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7732E-CC53-4B0F-BF09-BBCFDDD111A8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7788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A26C54-BC14-4276-A6B6-D4E44A2BCB1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34256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821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14BFCA1-340C-4996-8087-098BB33411EB}" type="datetimeFigureOut">
              <a:rPr lang="pt-BR"/>
              <a:pPr>
                <a:defRPr/>
              </a:pPr>
              <a:t>21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3450" y="749300"/>
            <a:ext cx="4997450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41" tIns="48171" rIns="96341" bIns="48171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6435" y="4748332"/>
            <a:ext cx="5491480" cy="4498420"/>
          </a:xfrm>
          <a:prstGeom prst="rect">
            <a:avLst/>
          </a:prstGeom>
        </p:spPr>
        <p:txBody>
          <a:bodyPr vert="horz" lIns="96341" tIns="48171" rIns="96341" bIns="48171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821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5730BC7-03E3-4390-A6F8-A796077FD5D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70714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730BC7-03E3-4390-A6F8-A796077FD5D1}" type="slidenum">
              <a:rPr lang="pt-BR" smtClean="0"/>
              <a:pPr>
                <a:defRPr/>
              </a:pPr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69794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C7C22-AC3E-4A2B-A931-8B1CC73E21F7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076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3726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26243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9429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06330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23462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FBA35-CB6D-4CF3-B3B9-2A001CF249FA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79154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79988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oblemas das metodologias:</a:t>
            </a:r>
          </a:p>
          <a:p>
            <a:pPr>
              <a:buFontTx/>
              <a:buChar char="-"/>
            </a:pPr>
            <a:r>
              <a:rPr lang="pt-BR" dirty="0" smtClean="0"/>
              <a:t> Hedônico: necessita de</a:t>
            </a:r>
            <a:r>
              <a:rPr lang="pt-BR" baseline="0" dirty="0" smtClean="0"/>
              <a:t> uma base de dados enorme e com muitos detalhes</a:t>
            </a:r>
          </a:p>
          <a:p>
            <a:pPr>
              <a:buFontTx/>
              <a:buChar char="-"/>
            </a:pPr>
            <a:r>
              <a:rPr lang="pt-BR" dirty="0" smtClean="0"/>
              <a:t> Avaliação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Repeat</a:t>
            </a:r>
            <a:r>
              <a:rPr lang="pt-BR" baseline="0" dirty="0" smtClean="0"/>
              <a:t> </a:t>
            </a:r>
            <a:r>
              <a:rPr lang="pt-BR" baseline="0" dirty="0" err="1" smtClean="0"/>
              <a:t>sales</a:t>
            </a:r>
            <a:r>
              <a:rPr lang="pt-BR" baseline="0" dirty="0" smtClean="0"/>
              <a:t>: pode ter viés de seleção, não lida com depreciação ou com reformas e normalmente imóveis têm poucas transações</a:t>
            </a:r>
          </a:p>
          <a:p>
            <a:pPr>
              <a:buFontTx/>
              <a:buChar char="-"/>
            </a:pPr>
            <a:r>
              <a:rPr lang="pt-BR" baseline="0" dirty="0" smtClean="0"/>
              <a:t> </a:t>
            </a:r>
            <a:r>
              <a:rPr lang="pt-BR" baseline="0" dirty="0" err="1" smtClean="0"/>
              <a:t>Matching</a:t>
            </a:r>
            <a:r>
              <a:rPr lang="pt-BR" baseline="0" dirty="0" smtClean="0"/>
              <a:t>: idem</a:t>
            </a:r>
          </a:p>
          <a:p>
            <a:pPr>
              <a:buFontTx/>
              <a:buChar char="-"/>
            </a:pPr>
            <a:r>
              <a:rPr lang="pt-BR" baseline="0" dirty="0" smtClean="0"/>
              <a:t> Estratificação: podem ser necessárias muitas células</a:t>
            </a:r>
          </a:p>
          <a:p>
            <a:pPr>
              <a:buFontTx/>
              <a:buNone/>
            </a:pPr>
            <a:endParaRPr lang="pt-BR" baseline="0" dirty="0" smtClean="0"/>
          </a:p>
          <a:p>
            <a:pPr>
              <a:buFontTx/>
              <a:buNone/>
            </a:pPr>
            <a:r>
              <a:rPr lang="pt-BR" baseline="0" dirty="0" smtClean="0"/>
              <a:t>Problemas com fontes de dados:</a:t>
            </a:r>
          </a:p>
          <a:p>
            <a:pPr>
              <a:buFontTx/>
              <a:buChar char="-"/>
            </a:pPr>
            <a:r>
              <a:rPr lang="pt-BR" baseline="0" dirty="0" smtClean="0"/>
              <a:t> Anúncios: preços de oferta, não os transacionados</a:t>
            </a:r>
          </a:p>
          <a:p>
            <a:pPr>
              <a:buFontTx/>
              <a:buChar char="-"/>
            </a:pPr>
            <a:r>
              <a:rPr lang="pt-BR" baseline="0" dirty="0" smtClean="0"/>
              <a:t> Financiamentos: depende dos bancos, viés de seleção (vendas à vista ficam fora)</a:t>
            </a:r>
          </a:p>
          <a:p>
            <a:pPr>
              <a:buFontTx/>
              <a:buChar char="-"/>
            </a:pPr>
            <a:r>
              <a:rPr lang="pt-BR" baseline="0" dirty="0" smtClean="0"/>
              <a:t> Assinatura: depende das imobiliárias</a:t>
            </a:r>
          </a:p>
          <a:p>
            <a:pPr>
              <a:buFontTx/>
              <a:buChar char="-"/>
            </a:pPr>
            <a:r>
              <a:rPr lang="pt-BR" baseline="0" dirty="0" smtClean="0"/>
              <a:t> Registro: depende dos cartórios/registr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C7C22-AC3E-4A2B-A931-8B1CC73E21F7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5749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905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1268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6347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765544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0" y="3276600"/>
            <a:ext cx="5181600" cy="1470025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0" y="4191000"/>
            <a:ext cx="5181600" cy="17526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Lua 8"/>
          <p:cNvSpPr>
            <a:spLocks/>
          </p:cNvSpPr>
          <p:nvPr userDrawn="1"/>
        </p:nvSpPr>
        <p:spPr>
          <a:xfrm>
            <a:off x="0" y="0"/>
            <a:ext cx="2243470" cy="6858000"/>
          </a:xfrm>
          <a:prstGeom prst="mo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16726" y="0"/>
            <a:ext cx="1018669" cy="9569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0" y="5890437"/>
            <a:ext cx="1488558" cy="9675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1143285" y="0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306317" y="1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 rot="10800000">
            <a:off x="1168095" y="6592186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 rot="10800000">
            <a:off x="1299228" y="6709144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53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black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364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990600" y="2743200"/>
            <a:ext cx="7010400" cy="76200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00" y="2773987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600" y="129540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Trebuchet MS"/>
                <a:cs typeface="+mn-cs"/>
              </a:rPr>
              <a:t>Indicadores de Mercado</a:t>
            </a: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45279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066800"/>
            <a:ext cx="38100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066800"/>
            <a:ext cx="38862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960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990600"/>
            <a:ext cx="38862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306512"/>
            <a:ext cx="3886200" cy="4332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990600"/>
            <a:ext cx="38100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1295400"/>
            <a:ext cx="3810000" cy="43434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2383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8714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5910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050"/>
            <a:ext cx="2627313" cy="1162050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340350" cy="5853113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1435100"/>
            <a:ext cx="2627313" cy="469106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148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2789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4568825"/>
            <a:ext cx="5486400" cy="566738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0" y="38100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0" y="5135563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7178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731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0287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5334000" cy="4602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00" y="1523999"/>
            <a:ext cx="2855915" cy="4602165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83000" y="914400"/>
            <a:ext cx="8251200" cy="4572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5444111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0" y="0"/>
            <a:ext cx="765544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0" y="3276600"/>
            <a:ext cx="5181600" cy="1470025"/>
          </a:xfrm>
        </p:spPr>
        <p:txBody>
          <a:bodyPr>
            <a:normAutofit/>
          </a:bodyPr>
          <a:lstStyle>
            <a:lvl1pPr algn="r">
              <a:defRPr sz="2800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0" y="4191000"/>
            <a:ext cx="5181600" cy="17526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Lua 8"/>
          <p:cNvSpPr>
            <a:spLocks/>
          </p:cNvSpPr>
          <p:nvPr userDrawn="1"/>
        </p:nvSpPr>
        <p:spPr>
          <a:xfrm>
            <a:off x="0" y="0"/>
            <a:ext cx="2243470" cy="6858000"/>
          </a:xfrm>
          <a:prstGeom prst="mo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416726" y="0"/>
            <a:ext cx="1018669" cy="9569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0" y="5890437"/>
            <a:ext cx="1488558" cy="9675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tângulo 11"/>
          <p:cNvSpPr/>
          <p:nvPr userDrawn="1"/>
        </p:nvSpPr>
        <p:spPr>
          <a:xfrm>
            <a:off x="1143285" y="0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306317" y="1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 rot="10800000">
            <a:off x="1168095" y="6592186"/>
            <a:ext cx="823738" cy="2658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9" name="Retângulo 18"/>
          <p:cNvSpPr/>
          <p:nvPr userDrawn="1"/>
        </p:nvSpPr>
        <p:spPr>
          <a:xfrm rot="10800000">
            <a:off x="1299228" y="6709144"/>
            <a:ext cx="823738" cy="14885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613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366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990600" y="2743200"/>
            <a:ext cx="7010400" cy="76200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00" y="2773987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600" y="129540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A9EFE93-F287-4331-B820-9EE2079A43EA}" type="slidenum">
              <a:rPr lang="en-US" smtClean="0">
                <a:solidFill>
                  <a:prstClr val="white"/>
                </a:solidFill>
                <a:latin typeface="Trebuchet MS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Trebuchet MS"/>
                <a:cs typeface="+mn-cs"/>
              </a:rPr>
              <a:t>Indicadores de Mercado</a:t>
            </a: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97254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066800"/>
            <a:ext cx="38100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066800"/>
            <a:ext cx="38862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053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990600"/>
            <a:ext cx="38862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306512"/>
            <a:ext cx="3886200" cy="4332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1" y="990600"/>
            <a:ext cx="3810000" cy="30480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1" y="1295400"/>
            <a:ext cx="3810000" cy="43434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508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75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36949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249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3050"/>
            <a:ext cx="2627313" cy="1162050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340350" cy="5853113"/>
          </a:xfrm>
        </p:spPr>
        <p:txBody>
          <a:bodyPr/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1435100"/>
            <a:ext cx="2627313" cy="4691063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0378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4568825"/>
            <a:ext cx="5486400" cy="566738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0" y="38100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0" y="5135563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733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1324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1097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524000"/>
            <a:ext cx="5334000" cy="4602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600" y="1523999"/>
            <a:ext cx="2855915" cy="4602165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83000" y="914400"/>
            <a:ext cx="8251200" cy="4572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489153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8909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0830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2426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0408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2855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5763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4E41-40A6-417F-B238-2EF45D0F1DF2}" type="datetimeFigureOut">
              <a:rPr lang="pt-BR" smtClean="0"/>
              <a:t>2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9091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066800"/>
            <a:ext cx="77724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19600" y="635635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339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066800"/>
            <a:ext cx="77724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19600" y="635635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685800" cy="62484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2331667" y="2570467"/>
            <a:ext cx="530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icadores de Mercado</a:t>
            </a:r>
            <a:endParaRPr lang="en-US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681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3716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828800" indent="0" algn="l" defTabSz="9144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6.emf"/><Relationship Id="rId3" Type="http://schemas.openxmlformats.org/officeDocument/2006/relationships/tags" Target="../tags/tag2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oleObject" Target="../embeddings/oleObject1.bin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5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4.jpeg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emf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2.camara.leg.br/atividade-legislativa/webcamara/arquivos/recentes/videoArquivo?codSessao=52338#videoTitulo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683568" y="4869160"/>
            <a:ext cx="7697787" cy="96436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mitê 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Financeiro</a:t>
            </a:r>
          </a:p>
          <a:p>
            <a:pPr algn="ctr" defTabSz="914145" hangingPunct="0"/>
            <a:r>
              <a:rPr lang="en-US" sz="28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união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21/5/2015</a:t>
            </a:r>
            <a:endParaRPr lang="en-US" sz="28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060848"/>
            <a:ext cx="7272808" cy="1662581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13874"/>
            <a:ext cx="7397750" cy="6288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19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19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19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iloto Cyrela Itaú</a:t>
            </a:r>
            <a:r>
              <a:rPr lang="pt-BR" sz="19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/>
            </a:r>
            <a:br>
              <a:rPr lang="pt-BR" sz="19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19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5281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Vendas </a:t>
            </a:r>
            <a:r>
              <a:rPr lang="pt-BR" sz="1700" dirty="0">
                <a:latin typeface="BlissL" panose="02000506030000020004" pitchFamily="2" charset="0"/>
              </a:rPr>
              <a:t>mais especializadas e mais fir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Queda no distrato – mas também nas ve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enor equipe, com melhor definição de </a:t>
            </a:r>
            <a:r>
              <a:rPr lang="pt-BR" sz="1700" dirty="0" smtClean="0">
                <a:latin typeface="BlissL" panose="02000506030000020004" pitchFamily="2" charset="0"/>
              </a:rPr>
              <a:t>subordinaçã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remissas Empresa</a:t>
            </a:r>
            <a:endParaRPr lang="pt-BR" sz="1700" b="1" dirty="0">
              <a:latin typeface="BlissL" panose="02000506030000020004" pitchFamily="2" charset="0"/>
            </a:endParaRP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Operação sem </a:t>
            </a:r>
            <a:r>
              <a:rPr lang="pt-BR" sz="1700" dirty="0" err="1">
                <a:latin typeface="BlissL" panose="02000506030000020004" pitchFamily="2" charset="0"/>
              </a:rPr>
              <a:t>Prosoluto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600" dirty="0"/>
          </a:p>
          <a:p>
            <a:r>
              <a:rPr lang="pt-BR" sz="1700" b="1" dirty="0" smtClean="0">
                <a:latin typeface="BlissL" panose="02000506030000020004" pitchFamily="2" charset="0"/>
              </a:rPr>
              <a:t>Itaú</a:t>
            </a:r>
            <a:endParaRPr lang="pt-BR" sz="1700" b="1" dirty="0">
              <a:latin typeface="BlissL" panose="02000506030000020004" pitchFamily="2" charset="0"/>
            </a:endParaRP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rocesso com menor impacto em desenvolvimento de </a:t>
            </a:r>
            <a:r>
              <a:rPr lang="pt-BR" sz="1700" dirty="0" smtClean="0">
                <a:latin typeface="BlissL" panose="02000506030000020004" pitchFamily="2" charset="0"/>
              </a:rPr>
              <a:t>sistem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ontrato de Alienação Fiduciária em 2 partes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Terreno – liberado p/ a empresa, amortização pelo cliente durante a obra (T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strução – 75% - liberado nas chaves, correção INCC, pagamento pelo cliente pós-chaves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5</a:t>
            </a: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71592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827584" y="2060848"/>
            <a:ext cx="7697787" cy="244169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Funding,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rédito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9:30h </a:t>
            </a:r>
            <a:r>
              <a:rPr lang="en-US" sz="24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à</a:t>
            </a:r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10:45h</a:t>
            </a:r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40355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79512" y="81696"/>
            <a:ext cx="6840760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Propostas Gerais – </a:t>
            </a:r>
            <a:r>
              <a:rPr lang="pt-BR" dirty="0" err="1" smtClean="0"/>
              <a:t>Funding</a:t>
            </a:r>
            <a:r>
              <a:rPr lang="pt-BR" dirty="0" smtClean="0"/>
              <a:t> – Poupança – Curva dos 30 anos</a:t>
            </a:r>
            <a:endParaRPr lang="pt-BR" dirty="0"/>
          </a:p>
        </p:txBody>
      </p:sp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cxnSp>
        <p:nvCxnSpPr>
          <p:cNvPr id="38" name="Conector reto 37"/>
          <p:cNvCxnSpPr/>
          <p:nvPr>
            <p:custDataLst>
              <p:tags r:id="rId2"/>
            </p:custDataLst>
          </p:nvPr>
        </p:nvCxnSpPr>
        <p:spPr bwMode="auto">
          <a:xfrm flipV="1">
            <a:off x="657225" y="320040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to 38"/>
          <p:cNvCxnSpPr/>
          <p:nvPr>
            <p:custDataLst>
              <p:tags r:id="rId3"/>
            </p:custDataLst>
          </p:nvPr>
        </p:nvCxnSpPr>
        <p:spPr bwMode="auto">
          <a:xfrm>
            <a:off x="5414963" y="320040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/>
          <p:cNvCxnSpPr/>
          <p:nvPr>
            <p:custDataLst>
              <p:tags r:id="rId4"/>
            </p:custDataLst>
          </p:nvPr>
        </p:nvCxnSpPr>
        <p:spPr bwMode="auto">
          <a:xfrm>
            <a:off x="657225" y="3200400"/>
            <a:ext cx="47577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spaço Reservado para Texto 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9900" y="4448175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7237A2-2A5B-4DD7-A3EA-18ACC67628FD}" type="datetime'''''''''''''1''''''''''''''''9''''''''8''''''''''''''''''''0'">
              <a:rPr lang="en-US" sz="1400" b="1"/>
              <a:pPr/>
              <a:t>1980</a:t>
            </a:fld>
            <a:endParaRPr lang="pt-BR" sz="1400" b="1" dirty="0">
              <a:sym typeface="+mn-lt"/>
            </a:endParaRPr>
          </a:p>
        </p:txBody>
      </p:sp>
      <p:sp>
        <p:nvSpPr>
          <p:cNvPr id="42" name="Espaço Reservado para Texto 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1863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A1BE68-FA95-48F1-BB3A-C8886C5C39C0}" type="datetime'''''8''''''''''''1'' ''''''''''''''''''''''- ''''''8''''''''5'">
              <a:rPr lang="en-US" sz="1400" b="1"/>
              <a:pPr/>
              <a:t>81 - 85</a:t>
            </a:fld>
            <a:endParaRPr lang="pt-BR" sz="1400" b="1" dirty="0">
              <a:sym typeface="+mn-lt"/>
            </a:endParaRPr>
          </a:p>
        </p:txBody>
      </p:sp>
      <p:sp>
        <p:nvSpPr>
          <p:cNvPr id="43" name="Espaço Reservado para Texto 1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60500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802F14-DD21-43C0-9018-4A6317356D64}" type="datetime'''''''''''8''''''''''''6 ''''''''''''-'''''''''''''''''''' 90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 - 90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4" name="Espaço Reservado para Texto 1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89138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39A0FE-A20E-438D-B636-9DE69EC6F4D1}" type="datetime'''9''''''''''''''''''''''''1'''''' ''''-'''' ''9''''5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 - 95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5" name="Espaço Reservado para Texto 1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17775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F87C63-9766-4416-9B7B-5D71004C8952}" type="datetime'9''6 ''''''''''''''''-'''' 0''''0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 - 00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6" name="Espaço Reservado para Texto 2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46763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1FA59-B8CD-4FDF-9ECE-963A02EB1B81}" type="datetime'1''''0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7" name="Espaço Reservado para Texto 20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06888" y="4448175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D3A45A-BCF0-44AA-AEFB-4CECE9C9B0AB}" type="datetime'7''''''''''''''''''''''''''''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8" name="Espaço Reservado para Texto 19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78250" y="4448175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18772D-76DC-4F9E-9380-DAFF5A8D2624}" type="datetime'''''''''''''''''''6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49" name="Espaço Reservado para Texto 1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046413" y="4448175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A8E620-7FCE-4D60-B001-F8E18E2B7BED}" type="datetime'''''''''0''''''''''''''''''''''1'''''''' ''- ''''''''''''05'''">
              <a:rPr lang="en-US" sz="1400" b="1"/>
              <a:pPr/>
              <a:t>01 - 05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0" name="Espaço Reservado para Texto 2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64163" y="4448175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B6CEC5-733A-41BC-AB6C-BD8F1830B2F5}" type="datetime'''9''''''''''''''''''''''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1" name="Espaço Reservado para Texto 21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35525" y="4448175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AC1179-CAEF-4ACD-8EAB-286EA5F1DE7F}" type="datetime'''''''''''8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2" name="Espaço Reservado para Texto 24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375400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BD1625-1D62-4ADD-BEAC-AB68F2F52E76}" type="datetime'''''''''''''''1''''1''''''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3" name="Espaço Reservado para Texto 2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61313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8A988E-3619-477F-B1FA-6AD9DBD6AA74}" type="datetime'''1''''4''''''''''''''''''''''''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4" name="Espaço Reservado para Texto 25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904038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6B6CED-4D43-4AE6-838C-01183BAAEDC2}" type="datetime'''''''''''1''''''''''''''2''''''''''''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5" name="Espaço Reservado para Texto 2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32675" y="4448175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C3B9C7-137A-47E3-9B90-E3E96F4B6A63}" type="datetime'1''''''''''''''''''''''''3'''''''''">
              <a:rPr lang="en-US" sz="1400" b="1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pt-BR" sz="1400" b="1" dirty="0">
              <a:latin typeface="Calibri"/>
              <a:sym typeface="Calibri"/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467544" y="908720"/>
            <a:ext cx="76180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/>
              <a:t>A estabilidade e o crescimento contínuo são muito necessários para o setor e para o país</a:t>
            </a:r>
            <a:r>
              <a:rPr lang="pt-BR" dirty="0" smtClean="0"/>
              <a:t>.</a:t>
            </a:r>
            <a:endParaRPr lang="pt-BR" dirty="0"/>
          </a:p>
        </p:txBody>
      </p:sp>
      <p:sp>
        <p:nvSpPr>
          <p:cNvPr id="57" name="Retângulo de cantos arredondados 56"/>
          <p:cNvSpPr/>
          <p:nvPr/>
        </p:nvSpPr>
        <p:spPr>
          <a:xfrm>
            <a:off x="3001963" y="2520082"/>
            <a:ext cx="5458469" cy="2387029"/>
          </a:xfrm>
          <a:prstGeom prst="round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CaixaDeTexto 57"/>
          <p:cNvSpPr txBox="1"/>
          <p:nvPr/>
        </p:nvSpPr>
        <p:spPr>
          <a:xfrm>
            <a:off x="4355976" y="5255166"/>
            <a:ext cx="410445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Estabilização da moeda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Juros mais baixos e condições de crédito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Crescimento da classe média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Pleno emprego / crescimento de renda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400" dirty="0" smtClean="0"/>
              <a:t>Programa habitacional do governo.</a:t>
            </a:r>
            <a:endParaRPr lang="pt-BR" sz="1400" dirty="0"/>
          </a:p>
        </p:txBody>
      </p:sp>
      <p:cxnSp>
        <p:nvCxnSpPr>
          <p:cNvPr id="59" name="Conector reto 58"/>
          <p:cNvCxnSpPr/>
          <p:nvPr/>
        </p:nvCxnSpPr>
        <p:spPr>
          <a:xfrm>
            <a:off x="4300563" y="4869160"/>
            <a:ext cx="0" cy="118800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CaixaDeTexto 59"/>
          <p:cNvSpPr txBox="1"/>
          <p:nvPr/>
        </p:nvSpPr>
        <p:spPr>
          <a:xfrm>
            <a:off x="373898" y="4839974"/>
            <a:ext cx="21545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b="1" dirty="0" smtClean="0"/>
              <a:t>Fonte:</a:t>
            </a:r>
          </a:p>
          <a:p>
            <a:r>
              <a:rPr lang="pt-BR" sz="1050" b="1" dirty="0" smtClean="0"/>
              <a:t>ABECIP, CEF E CDIC.</a:t>
            </a:r>
            <a:endParaRPr lang="pt-BR" sz="1050" dirty="0"/>
          </a:p>
        </p:txBody>
      </p:sp>
      <p:sp>
        <p:nvSpPr>
          <p:cNvPr id="61" name="CaixaDeTexto 60"/>
          <p:cNvSpPr txBox="1"/>
          <p:nvPr/>
        </p:nvSpPr>
        <p:spPr>
          <a:xfrm>
            <a:off x="2195736" y="2828428"/>
            <a:ext cx="793750" cy="279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/>
              <a:t>30 anos</a:t>
            </a:r>
            <a:endParaRPr lang="pt-BR" sz="1400" b="1" dirty="0"/>
          </a:p>
        </p:txBody>
      </p:sp>
      <p:graphicFrame>
        <p:nvGraphicFramePr>
          <p:cNvPr id="88" name="Objeto 87"/>
          <p:cNvGraphicFramePr>
            <a:graphicFrameLocks/>
          </p:cNvGraphicFramePr>
          <p:nvPr>
            <p:custDataLst>
              <p:tags r:id="rId20"/>
            </p:custDataLst>
            <p:extLst/>
          </p:nvPr>
        </p:nvGraphicFramePr>
        <p:xfrm>
          <a:off x="287972" y="2708920"/>
          <a:ext cx="8172460" cy="1845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Gráfico" r:id="rId25" imgW="8172629" imgH="1571752" progId="MSGraph.Chart.8">
                  <p:embed followColorScheme="full"/>
                </p:oleObj>
              </mc:Choice>
              <mc:Fallback>
                <p:oleObj name="Gráfico" r:id="rId25" imgW="8172629" imgH="157175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87972" y="2708920"/>
                        <a:ext cx="8172460" cy="1845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CaixaDeTexto 88"/>
          <p:cNvSpPr txBox="1"/>
          <p:nvPr/>
        </p:nvSpPr>
        <p:spPr>
          <a:xfrm rot="16200000">
            <a:off x="-1080657" y="3465034"/>
            <a:ext cx="26302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b="1" dirty="0" err="1" smtClean="0"/>
              <a:t>Unids</a:t>
            </a:r>
            <a:r>
              <a:rPr lang="pt-BR" sz="1050" b="1" dirty="0" smtClean="0"/>
              <a:t> Financiadas (SBPE + FGTS) - Milhares</a:t>
            </a:r>
            <a:endParaRPr lang="pt-BR" sz="1050" dirty="0"/>
          </a:p>
        </p:txBody>
      </p:sp>
      <p:sp>
        <p:nvSpPr>
          <p:cNvPr id="3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531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Propostas Gerais – </a:t>
            </a:r>
            <a:r>
              <a:rPr lang="pt-BR" dirty="0" err="1" smtClean="0"/>
              <a:t>Funding</a:t>
            </a:r>
            <a:r>
              <a:rPr lang="pt-BR" dirty="0" smtClean="0"/>
              <a:t> – Poupança e </a:t>
            </a:r>
            <a:r>
              <a:rPr lang="pt-BR" dirty="0" err="1" smtClean="0"/>
              <a:t>LCIs</a:t>
            </a:r>
            <a:endParaRPr lang="pt-BR" dirty="0"/>
          </a:p>
        </p:txBody>
      </p:sp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CaixaDeTexto 12"/>
          <p:cNvSpPr txBox="1"/>
          <p:nvPr/>
        </p:nvSpPr>
        <p:spPr>
          <a:xfrm>
            <a:off x="179512" y="688066"/>
            <a:ext cx="8856984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+mj-lt"/>
              </a:rPr>
              <a:t>O </a:t>
            </a:r>
            <a:r>
              <a:rPr lang="pt-BR" sz="1700" i="1" dirty="0" err="1">
                <a:latin typeface="+mj-lt"/>
              </a:rPr>
              <a:t>Funding</a:t>
            </a:r>
            <a:r>
              <a:rPr lang="pt-BR" sz="1700" dirty="0">
                <a:latin typeface="+mj-lt"/>
              </a:rPr>
              <a:t> de longo prazo para o financiamento das empresas e dos compradores </a:t>
            </a:r>
            <a:r>
              <a:rPr lang="pt-BR" sz="1700" dirty="0" smtClean="0">
                <a:latin typeface="+mj-lt"/>
              </a:rPr>
              <a:t>é crucial</a:t>
            </a:r>
            <a:endParaRPr lang="pt-BR" sz="17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+mj-lt"/>
              </a:rPr>
              <a:t>LIGs</a:t>
            </a:r>
            <a:r>
              <a:rPr lang="pt-BR" sz="1700" dirty="0" smtClean="0">
                <a:latin typeface="+mj-lt"/>
              </a:rPr>
              <a:t> podem representar solução para o médio e longo prazo</a:t>
            </a:r>
            <a:endParaRPr lang="pt-BR" sz="17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+mj-lt"/>
              </a:rPr>
              <a:t>No SFH, Bancos já indicam exigibilidade cumprida e limitação nas operações</a:t>
            </a:r>
          </a:p>
          <a:p>
            <a:endParaRPr lang="pt-BR" sz="1700" dirty="0" smtClean="0">
              <a:latin typeface="+mj-lt"/>
            </a:endParaRPr>
          </a:p>
          <a:p>
            <a:r>
              <a:rPr lang="pt-BR" sz="1700" dirty="0" smtClean="0">
                <a:latin typeface="+mj-lt"/>
              </a:rPr>
              <a:t>Necessidades neste momento:</a:t>
            </a:r>
            <a:endParaRPr lang="pt-BR" sz="1700" b="1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+mj-lt"/>
              </a:rPr>
              <a:t>Redução para 10% no depósito compulsório da Caderneta de Poupança</a:t>
            </a:r>
            <a:endParaRPr lang="pt-BR" sz="1700" b="1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err="1" smtClean="0">
                <a:latin typeface="+mj-lt"/>
              </a:rPr>
              <a:t>LCIs</a:t>
            </a:r>
            <a:r>
              <a:rPr lang="pt-BR" sz="1700" b="1" dirty="0" smtClean="0">
                <a:latin typeface="+mj-lt"/>
              </a:rPr>
              <a:t>: manutenção da isenção </a:t>
            </a:r>
            <a:r>
              <a:rPr lang="pt-BR" sz="1700" b="1" dirty="0" err="1" smtClean="0">
                <a:latin typeface="+mj-lt"/>
              </a:rPr>
              <a:t>fical</a:t>
            </a:r>
            <a:r>
              <a:rPr lang="pt-BR" sz="1700" b="1" dirty="0" smtClean="0">
                <a:latin typeface="+mj-lt"/>
              </a:rPr>
              <a:t> para PF com garantia de uso para financiamentos imobiliários (MF – abril15)</a:t>
            </a: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7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5576" y="3140968"/>
            <a:ext cx="6624736" cy="3731173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726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79512" y="81696"/>
            <a:ext cx="6407928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 smtClean="0"/>
              <a:t>Propostas Gerais – JK/França/ RV</a:t>
            </a:r>
            <a:endParaRPr lang="pt-BR" dirty="0"/>
          </a:p>
        </p:txBody>
      </p:sp>
      <p:sp>
        <p:nvSpPr>
          <p:cNvPr id="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1" name="CaixaDeTexto 12"/>
          <p:cNvSpPr txBox="1"/>
          <p:nvPr/>
        </p:nvSpPr>
        <p:spPr>
          <a:xfrm>
            <a:off x="323528" y="620688"/>
            <a:ext cx="7992888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700" b="1" dirty="0">
                <a:latin typeface="BlissL" panose="02000506030000020004" pitchFamily="2" charset="0"/>
                <a:cs typeface="Arial" charset="0"/>
              </a:rPr>
              <a:t>Pressão organizada pela redução no </a:t>
            </a:r>
            <a:r>
              <a:rPr lang="pt-BR" sz="1700" b="1" dirty="0" smtClean="0">
                <a:latin typeface="BlissL" panose="02000506030000020004" pitchFamily="2" charset="0"/>
                <a:cs typeface="Arial" charset="0"/>
              </a:rPr>
              <a:t>Compulsório</a:t>
            </a:r>
            <a:endParaRPr lang="pt-BR" sz="1700" b="1" dirty="0">
              <a:latin typeface="BlissL" panose="02000506030000020004" pitchFamily="2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  <a:cs typeface="Arial" charset="0"/>
              </a:rPr>
              <a:t>Foco no Planejamento, com apoio em Fazenda e Banco </a:t>
            </a: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Centr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Documento </a:t>
            </a:r>
            <a:r>
              <a:rPr lang="pt-BR" sz="1700" dirty="0">
                <a:latin typeface="BlissL" panose="02000506030000020004" pitchFamily="2" charset="0"/>
                <a:cs typeface="Arial" charset="0"/>
              </a:rPr>
              <a:t>inicial redigido – verificar dados do estudo FGV </a:t>
            </a:r>
            <a:endParaRPr lang="pt-BR" sz="1700" dirty="0" smtClean="0">
              <a:latin typeface="BlissL" panose="02000506030000020004" pitchFamily="2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Termômetro com Sérgio Odilon, </a:t>
            </a:r>
            <a:r>
              <a:rPr lang="pt-BR" sz="1700" dirty="0" err="1" smtClean="0">
                <a:latin typeface="BlissL" panose="02000506030000020004" pitchFamily="2" charset="0"/>
                <a:cs typeface="Arial" charset="0"/>
              </a:rPr>
              <a:t>ex-BACEN</a:t>
            </a:r>
            <a:endParaRPr lang="pt-BR" sz="1700" dirty="0" smtClean="0">
              <a:latin typeface="BlissL" panose="02000506030000020004" pitchFamily="2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Agendamentos – Planejamento, Banco Central</a:t>
            </a:r>
          </a:p>
          <a:p>
            <a:pPr lvl="1"/>
            <a:endParaRPr lang="pt-BR" sz="1700" dirty="0" smtClean="0">
              <a:latin typeface="BlissL" panose="02000506030000020004" pitchFamily="2" charset="0"/>
              <a:cs typeface="Arial" charset="0"/>
            </a:endParaRPr>
          </a:p>
          <a:p>
            <a:endParaRPr lang="pt-BR" sz="1700" b="1" dirty="0" smtClean="0">
              <a:latin typeface="BlissL" panose="02000506030000020004" pitchFamily="2" charset="0"/>
              <a:cs typeface="Arial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  <a:cs typeface="Arial" charset="0"/>
              </a:rPr>
              <a:t>Projeto de </a:t>
            </a:r>
            <a:r>
              <a:rPr lang="pt-BR" sz="1700" b="1" i="1" dirty="0" err="1" smtClean="0">
                <a:latin typeface="BlissL" panose="02000506030000020004" pitchFamily="2" charset="0"/>
                <a:cs typeface="Arial" charset="0"/>
              </a:rPr>
              <a:t>Funding</a:t>
            </a:r>
            <a:endParaRPr lang="pt-BR" sz="1700" dirty="0" smtClean="0">
              <a:latin typeface="BlissL" panose="02000506030000020004" pitchFamily="2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Recursos FGTS e outros – possibilidade de alavancag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Contatos e propostas – Gustavo </a:t>
            </a: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Loyola (França) </a:t>
            </a: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e Nélson </a:t>
            </a: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Machado (Jairo)</a:t>
            </a:r>
            <a:endParaRPr lang="pt-BR" sz="1700" dirty="0" smtClean="0">
              <a:latin typeface="BlissL" panose="02000506030000020004" pitchFamily="2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Definição de nossa propo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Repensar estrutura de crédito imobiliário no Brasi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i="1" dirty="0" smtClean="0">
                <a:latin typeface="BlissL" panose="02000506030000020004" pitchFamily="2" charset="0"/>
                <a:cs typeface="Arial" charset="0"/>
              </a:rPr>
              <a:t>Fase out  </a:t>
            </a: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Poupanç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Dedutibilidade dos jur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  <a:cs typeface="Arial" charset="0"/>
            </a:endParaRPr>
          </a:p>
          <a:p>
            <a:r>
              <a:rPr lang="pt-BR" sz="1700" b="1" dirty="0">
                <a:latin typeface="BlissL" panose="02000506030000020004" pitchFamily="2" charset="0"/>
                <a:cs typeface="Arial" charset="0"/>
              </a:rPr>
              <a:t>A questão do FG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  <a:cs typeface="Arial" charset="0"/>
              </a:rPr>
              <a:t>Acesso a Eduardo Cunha - M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  <a:cs typeface="Arial" charset="0"/>
              </a:rPr>
              <a:t>GT com Jairo, Rodrigo, Ronaldo e Rubens – reuniões 3as- feiras para discutir encaminhame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  <a:cs typeface="Arial" charset="0"/>
              </a:rPr>
              <a:t>Economista + Consultoria para apoio – Nelson Machado, L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  <a:cs typeface="Arial" charset="0"/>
              </a:rPr>
              <a:t>Propostas </a:t>
            </a:r>
            <a:r>
              <a:rPr lang="pt-BR" sz="1700" dirty="0" smtClean="0">
                <a:latin typeface="BlissL" panose="02000506030000020004" pitchFamily="2" charset="0"/>
                <a:cs typeface="Arial" charset="0"/>
              </a:rPr>
              <a:t>a </a:t>
            </a:r>
            <a:r>
              <a:rPr lang="pt-BR" sz="1700" dirty="0">
                <a:latin typeface="BlissL" panose="02000506030000020004" pitchFamily="2" charset="0"/>
                <a:cs typeface="Arial" charset="0"/>
              </a:rPr>
              <a:t>serem obtidas por Jai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  <a:cs typeface="Arial" charset="0"/>
              </a:rPr>
              <a:t>Verificação de enquadramento no orçamento e medidas para aprovação</a:t>
            </a:r>
          </a:p>
          <a:p>
            <a:pPr lvl="1"/>
            <a:endParaRPr lang="pt-BR" sz="1700" dirty="0">
              <a:latin typeface="BlissL" panose="02000506030000020004" pitchFamily="2" charset="0"/>
              <a:cs typeface="Arial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945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16632"/>
            <a:ext cx="7397750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en-US" sz="20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Banco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244477" y="653729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talhamento </a:t>
            </a:r>
            <a:r>
              <a:rPr lang="pt-BR" sz="1700" dirty="0">
                <a:latin typeface="BlissL" panose="02000506030000020004" pitchFamily="2" charset="0"/>
              </a:rPr>
              <a:t>de campos crédito imobiliá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adronização de cálculos – juros, corre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sembolsos no final do dia, sem aplicação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ões e envios de sugestões -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Santander – agendamento de próxima reunião em curs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taú – agendamento de próxima reunião em cur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radesco – próxima reunião em 3/0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B – reunião recente – acompanhamento para avanços. Próxima dia 5/02</a:t>
            </a:r>
            <a:endParaRPr lang="pt-BR" sz="1700" dirty="0">
              <a:latin typeface="BlissL" panose="02000506030000020004" pitchFamily="2" charset="0"/>
            </a:endParaRPr>
          </a:p>
          <a:p>
            <a:pPr lvl="1"/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Caixa </a:t>
            </a:r>
            <a:r>
              <a:rPr lang="pt-BR" sz="1700" dirty="0" smtClean="0">
                <a:latin typeface="BlissL" panose="02000506030000020004" pitchFamily="2" charset="0"/>
              </a:rPr>
              <a:t>– reuniões </a:t>
            </a:r>
            <a:r>
              <a:rPr lang="pt-BR" sz="1700" dirty="0">
                <a:latin typeface="BlissL" panose="02000506030000020004" pitchFamily="2" charset="0"/>
              </a:rPr>
              <a:t>agendamento de próxima reunião em cur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anco de dados e relatór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anco de dados: Mandar todos os dados com descrição de cas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roposta de relatório: GT Tenda, MRV, Rossi, </a:t>
            </a:r>
            <a:r>
              <a:rPr lang="pt-BR" sz="1700" dirty="0" err="1" smtClean="0">
                <a:latin typeface="BlissL" panose="02000506030000020004" pitchFamily="2" charset="0"/>
              </a:rPr>
              <a:t>Cyrela</a:t>
            </a:r>
            <a:r>
              <a:rPr lang="pt-BR" sz="1700" dirty="0" smtClean="0">
                <a:latin typeface="BlissL" panose="02000506030000020004" pitchFamily="2" charset="0"/>
              </a:rPr>
              <a:t>, Tecnisa – enviada à Caixa, que agendará reuni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aixa e BB – </a:t>
            </a:r>
            <a:r>
              <a:rPr lang="pt-BR" sz="1700" dirty="0" err="1" smtClean="0">
                <a:latin typeface="BlissL" panose="02000506030000020004" pitchFamily="2" charset="0"/>
              </a:rPr>
              <a:t>co-obrigação</a:t>
            </a:r>
            <a:r>
              <a:rPr lang="pt-BR" sz="1700" dirty="0" smtClean="0">
                <a:latin typeface="BlissL" panose="02000506030000020004" pitchFamily="2" charset="0"/>
              </a:rPr>
              <a:t> juros – comunicar adequadamente clientes, cobrá-los por &gt;=90 dias – </a:t>
            </a:r>
            <a:r>
              <a:rPr lang="pt-BR" sz="1700" dirty="0" err="1" smtClean="0">
                <a:latin typeface="BlissL" panose="02000506030000020004" pitchFamily="2" charset="0"/>
              </a:rPr>
              <a:t>ve</a:t>
            </a:r>
            <a:r>
              <a:rPr lang="pt-BR" sz="1700" dirty="0" smtClean="0">
                <a:latin typeface="BlissL" panose="02000506030000020004" pitchFamily="2" charset="0"/>
              </a:rPr>
              <a:t> anex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Prefeituras de S. Paulo, </a:t>
            </a:r>
            <a:r>
              <a:rPr lang="pt-BR" sz="1700" b="1" dirty="0" smtClean="0">
                <a:latin typeface="BlissL" panose="02000506030000020004" pitchFamily="2" charset="0"/>
              </a:rPr>
              <a:t>RJ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ITBI, IPTU – bases, cobranç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iabilização de </a:t>
            </a:r>
            <a:r>
              <a:rPr lang="pt-BR" sz="1700" dirty="0" err="1">
                <a:latin typeface="BlissL" panose="02000506030000020004" pitchFamily="2" charset="0"/>
              </a:rPr>
              <a:t>PPPs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lvl="1"/>
            <a:endParaRPr lang="pt-BR" sz="1700" dirty="0" smtClean="0">
              <a:latin typeface="BlissL" panose="02000506030000020004" pitchFamily="2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4239872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323528" y="1628800"/>
            <a:ext cx="8111876" cy="354968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Informações</a:t>
            </a:r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obre</a:t>
            </a:r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o 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setor: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Dados FIPE </a:t>
            </a:r>
            <a:endParaRPr lang="en-US" sz="32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10:45 </a:t>
            </a:r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à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11h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427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74625" y="72324"/>
            <a:ext cx="2525167" cy="3795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hangingPunct="0">
              <a:lnSpc>
                <a:spcPct val="90000"/>
              </a:lnSpc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Status - FIPE</a:t>
            </a:r>
          </a:p>
        </p:txBody>
      </p:sp>
      <p:sp>
        <p:nvSpPr>
          <p:cNvPr id="39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0872360"/>
              </p:ext>
            </p:extLst>
          </p:nvPr>
        </p:nvGraphicFramePr>
        <p:xfrm>
          <a:off x="395536" y="764700"/>
          <a:ext cx="8280919" cy="5616630"/>
        </p:xfrm>
        <a:graphic>
          <a:graphicData uri="http://schemas.openxmlformats.org/drawingml/2006/table">
            <a:tbl>
              <a:tblPr/>
              <a:tblGrid>
                <a:gridCol w="1370536"/>
                <a:gridCol w="1702349"/>
                <a:gridCol w="5208034"/>
              </a:tblGrid>
              <a:tr h="181062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resa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 Dados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entário sobre contato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Brookfield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ury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Cyrela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Direcional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sser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Gafisa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Moura Dubeux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MRV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dobens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Rossi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cnisa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Tenda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Yuny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OK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Enviou até abril de 2015 (mas há </a:t>
                      </a:r>
                      <a:r>
                        <a:rPr lang="pt-BR" sz="11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inconsistências </a:t>
                      </a:r>
                      <a:r>
                        <a:rPr lang="pt-BR" sz="11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nos dados)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94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DG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março de 2015 (mas enviou dados agregados e incompletos)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98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ccamp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até dezembro (mas enviou dado do 1º trimestre agregado)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876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en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recente (mas ainda não enviou informações)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75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M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até março de 2014, janeiro de 2015, fevereiro de 2015, março de 2015 e dados agregados de abril de 2014 a dezembro de 2014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878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rimar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informações de fevereiro e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isul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ou dados de janeiro, fevereiro e março de 2015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ver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ados Parcialmente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dou dados de setembro e outubro (mas não dos outros meses)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Odebrecht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em contato na última semana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ano &amp; Plano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Tivemos contato (mas enviou apenas informações de RH)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JHSF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Indicou sua participação a partir de 2015, ainda sem resposta.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949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Andrade Gutierrez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Canopus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1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Eztec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ão enviou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nhuma resposta</a:t>
                      </a:r>
                    </a:p>
                  </a:txBody>
                  <a:tcPr marL="6885" marR="6885" marT="68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5033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0" y="6469166"/>
            <a:ext cx="5181600" cy="3888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pic>
        <p:nvPicPr>
          <p:cNvPr id="9" name="Imagem 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1873956" y="2065111"/>
            <a:ext cx="71073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2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3400" b="1" dirty="0" smtClean="0">
              <a:solidFill>
                <a:srgbClr val="0F6FC6">
                  <a:lumMod val="50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3400" b="1" dirty="0" smtClean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Indicadores </a:t>
            </a:r>
            <a:r>
              <a:rPr lang="pt-BR" sz="3400" b="1" dirty="0">
                <a:solidFill>
                  <a:srgbClr val="0F6FC6">
                    <a:lumMod val="50000"/>
                  </a:srgbClr>
                </a:solidFill>
                <a:latin typeface="Trebuchet MS"/>
                <a:cs typeface="+mn-cs"/>
              </a:rPr>
              <a:t>de Mercad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000" dirty="0" smtClean="0">
                <a:solidFill>
                  <a:srgbClr val="0F6FC6">
                    <a:lumMod val="75000"/>
                  </a:srgbClr>
                </a:solidFill>
                <a:latin typeface="Trebuchet MS"/>
                <a:cs typeface="+mn-cs"/>
              </a:rPr>
              <a:t>14/04/201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sz="2000" dirty="0" smtClean="0">
              <a:solidFill>
                <a:srgbClr val="0F6FC6">
                  <a:lumMod val="75000"/>
                </a:srgbClr>
              </a:solidFill>
              <a:latin typeface="Trebuchet MS"/>
              <a:cs typeface="+mn-cs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83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3111" y="274638"/>
            <a:ext cx="7772400" cy="639762"/>
          </a:xfrm>
        </p:spPr>
        <p:txBody>
          <a:bodyPr>
            <a:normAutofit/>
          </a:bodyPr>
          <a:lstStyle/>
          <a:p>
            <a:r>
              <a:rPr lang="en-US" sz="2800" dirty="0" smtClean="0"/>
              <a:t>Introdução</a:t>
            </a:r>
            <a:endParaRPr lang="en-US" sz="2800" dirty="0"/>
          </a:p>
        </p:txBody>
      </p:sp>
      <p:sp>
        <p:nvSpPr>
          <p:cNvPr id="5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156944" y="6362700"/>
            <a:ext cx="838200" cy="365125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1683881" y="2279931"/>
            <a:ext cx="65584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s dados apresentados cobrem o período de </a:t>
            </a:r>
            <a:r>
              <a:rPr lang="pt-BR" sz="2400" dirty="0" err="1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an</a:t>
            </a:r>
            <a:r>
              <a:rPr lang="pt-BR" sz="2400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4 – </a:t>
            </a:r>
            <a:r>
              <a:rPr lang="pt-BR" sz="2400" dirty="0" err="1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ev</a:t>
            </a:r>
            <a:r>
              <a:rPr lang="pt-BR" sz="2400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2015 </a:t>
            </a: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 contêm informações de até </a:t>
            </a:r>
            <a:r>
              <a:rPr lang="pt-BR" sz="2400" dirty="0" smtClean="0">
                <a:solidFill>
                  <a:srgbClr val="0F6FC6">
                    <a:lumMod val="50000"/>
                  </a:srgb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13 empresas</a:t>
            </a:r>
          </a:p>
        </p:txBody>
      </p:sp>
      <p:sp>
        <p:nvSpPr>
          <p:cNvPr id="14" name="Elipse 13"/>
          <p:cNvSpPr/>
          <p:nvPr/>
        </p:nvSpPr>
        <p:spPr>
          <a:xfrm>
            <a:off x="1258262" y="1303527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683881" y="1181667"/>
            <a:ext cx="6558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ste é um relatório sintético onde são apresentados indicadores selecionados</a:t>
            </a:r>
          </a:p>
        </p:txBody>
      </p:sp>
      <p:sp>
        <p:nvSpPr>
          <p:cNvPr id="19" name="Elipse 18"/>
          <p:cNvSpPr/>
          <p:nvPr/>
        </p:nvSpPr>
        <p:spPr>
          <a:xfrm>
            <a:off x="1258262" y="2407393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1683881" y="3721150"/>
            <a:ext cx="65584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2400" dirty="0" smtClean="0">
                <a:solidFill>
                  <a:prstClr val="black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 responsável pelo envio dos dados para a Fipe também irá receber todos os indicadores e dados de mercado consolidados em Excel</a:t>
            </a:r>
          </a:p>
        </p:txBody>
      </p:sp>
      <p:sp>
        <p:nvSpPr>
          <p:cNvPr id="9" name="Elipse 8"/>
          <p:cNvSpPr/>
          <p:nvPr/>
        </p:nvSpPr>
        <p:spPr>
          <a:xfrm>
            <a:off x="1258262" y="3848612"/>
            <a:ext cx="228600" cy="228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05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44624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>
                <a:latin typeface="BlissL" panose="02000506030000020004" pitchFamily="2" charset="0"/>
              </a:rPr>
              <a:t>De acordo com o </a:t>
            </a:r>
            <a:r>
              <a:rPr lang="pt-BR" sz="1700" dirty="0" smtClean="0">
                <a:latin typeface="BlissL" panose="02000506030000020004" pitchFamily="2" charset="0"/>
              </a:rPr>
              <a:t>Códig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Conduta e em </a:t>
            </a:r>
            <a:r>
              <a:rPr lang="pt-BR" sz="1700" dirty="0">
                <a:latin typeface="BlissL" panose="02000506030000020004" pitchFamily="2" charset="0"/>
              </a:rPr>
              <a:t>consonância com o estatuto da </a:t>
            </a:r>
            <a:r>
              <a:rPr lang="pt-BR" sz="1700" dirty="0" smtClean="0">
                <a:latin typeface="BlissL" panose="02000506030000020004" pitchFamily="2" charset="0"/>
              </a:rPr>
              <a:t>associação, </a:t>
            </a:r>
            <a:r>
              <a:rPr lang="pt-BR" sz="1700" dirty="0">
                <a:latin typeface="BlissL" panose="02000506030000020004" pitchFamily="2" charset="0"/>
              </a:rPr>
              <a:t>as reuniões são regidas pelas instruções abaixo, previamente distribuídas e de pleno conhecimento dos participantes. A saber: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INSTRUÇÕES PARA A REUNIÃO</a:t>
            </a:r>
          </a:p>
          <a:p>
            <a:r>
              <a:rPr lang="pt-BR" sz="1700" dirty="0">
                <a:latin typeface="BlissL" panose="02000506030000020004" pitchFamily="2" charset="0"/>
              </a:rPr>
              <a:t>As instruções descritas abaixo deverão ser seguidas por todos os participantes da Plenária e refletem </a:t>
            </a:r>
            <a:r>
              <a:rPr lang="pt-BR" sz="1700" dirty="0" smtClean="0">
                <a:latin typeface="BlissL" panose="02000506030000020004" pitchFamily="2" charset="0"/>
              </a:rPr>
              <a:t>as </a:t>
            </a:r>
            <a:r>
              <a:rPr lang="pt-BR" sz="1700" dirty="0">
                <a:latin typeface="BlissL" panose="02000506030000020004" pitchFamily="2" charset="0"/>
              </a:rPr>
              <a:t>diretrizes do Código de </a:t>
            </a:r>
            <a:r>
              <a:rPr lang="pt-BR" sz="1700" dirty="0" smtClean="0">
                <a:latin typeface="BlissL" panose="02000506030000020004" pitchFamily="2" charset="0"/>
              </a:rPr>
              <a:t>Conduta da </a:t>
            </a:r>
            <a:r>
              <a:rPr lang="pt-BR" sz="1700" dirty="0">
                <a:latin typeface="BlissL" panose="02000506030000020004" pitchFamily="2" charset="0"/>
              </a:rPr>
              <a:t>Associação em </a:t>
            </a:r>
            <a:r>
              <a:rPr lang="pt-BR" sz="1700" dirty="0" smtClean="0">
                <a:latin typeface="BlissL" panose="02000506030000020004" pitchFamily="2" charset="0"/>
              </a:rPr>
              <a:t>consonância com </a:t>
            </a:r>
            <a:r>
              <a:rPr lang="pt-BR" sz="1700" dirty="0">
                <a:latin typeface="BlissL" panose="02000506030000020004" pitchFamily="2" charset="0"/>
              </a:rPr>
              <a:t>os princípios básicos do Direito da Concorrência. Tem como finalidade precípua estabelecer as relações dos participantes associados às reuniões promovidas pela ABRAINC. Consulte o seu advogado, na eventualidade de necessitar ajuda para a compreensão da aplicação de qualquer um destes conceito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VOCÊ DEVERÁ</a:t>
            </a:r>
          </a:p>
          <a:p>
            <a:r>
              <a:rPr lang="pt-BR" sz="1700" dirty="0">
                <a:latin typeface="BlissL" panose="02000506030000020004" pitchFamily="2" charset="0"/>
              </a:rPr>
              <a:t>1. Avaliar e atender a agenda preparada para a reunião e consignar a objeção de determinada matéria que não lhe atenda, por escrito, e também em relação a ata da reunião não se seu teor não refletir precisamente as discussões ocorridas durante a mesma.</a:t>
            </a:r>
          </a:p>
          <a:p>
            <a:r>
              <a:rPr lang="pt-BR" sz="1700" dirty="0">
                <a:latin typeface="BlissL" panose="02000506030000020004" pitchFamily="2" charset="0"/>
              </a:rPr>
              <a:t>2. Compreender os propósitos e a autoridade de cada uma das pessoas com as quais se reúne[, em especial, a autoridade do coordenador da reunião </a:t>
            </a:r>
            <a:r>
              <a:rPr lang="pt-BR" sz="1700" dirty="0" smtClean="0">
                <a:latin typeface="BlissL" panose="02000506030000020004" pitchFamily="2" charset="0"/>
              </a:rPr>
              <a:t>específica.</a:t>
            </a:r>
          </a:p>
          <a:p>
            <a:r>
              <a:rPr lang="pt-BR" sz="1700" dirty="0">
                <a:latin typeface="BlissL" panose="02000506030000020004" pitchFamily="2" charset="0"/>
              </a:rPr>
              <a:t>3. Protestar oralmente contra quaisquer discussões ou atividades, durante a reunião, que você considere como violadoras das leis antitruste; não continue, até que você considere adequado permanecer na reunião. De outra forma, interrompa a reunião e faça constar na ata sua objeção ou retirada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9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7550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399" y="278423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sz="3100" dirty="0" smtClean="0"/>
              <a:t/>
            </a:r>
            <a:br>
              <a:rPr lang="pt-BR" sz="3100" dirty="0" smtClean="0"/>
            </a:br>
            <a:r>
              <a:rPr lang="pt-BR" sz="2700" dirty="0" smtClean="0"/>
              <a:t>Unidades Lançadas</a:t>
            </a:r>
            <a:r>
              <a:rPr lang="pt-BR" sz="3600" dirty="0">
                <a:solidFill>
                  <a:srgbClr val="FF0000"/>
                </a:solidFill>
              </a:rPr>
              <a:t/>
            </a:r>
            <a:br>
              <a:rPr lang="pt-BR" sz="3600" dirty="0">
                <a:solidFill>
                  <a:srgbClr val="FF0000"/>
                </a:solidFill>
              </a:rPr>
            </a:b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86798" y="6362700"/>
            <a:ext cx="308345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20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783771" y="1190730"/>
          <a:ext cx="8044544" cy="4567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41153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42901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GV Lançado (R$ bilhões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331790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21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/>
          </p:nvPr>
        </p:nvGraphicFramePr>
        <p:xfrm>
          <a:off x="890954" y="1138011"/>
          <a:ext cx="7946571" cy="466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7451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31764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Unidades Vendida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331790" cy="354623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22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890954" y="1178354"/>
          <a:ext cx="7980903" cy="4569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9259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3" y="342901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alor das Vendas (R$ bilhões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2" y="6362700"/>
            <a:ext cx="331791" cy="372208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23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/>
          </p:nvPr>
        </p:nvGraphicFramePr>
        <p:xfrm>
          <a:off x="890953" y="1211262"/>
          <a:ext cx="7946571" cy="4569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0557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267581"/>
            <a:ext cx="7772400" cy="795972"/>
          </a:xfrm>
        </p:spPr>
        <p:txBody>
          <a:bodyPr>
            <a:normAutofit/>
          </a:bodyPr>
          <a:lstStyle/>
          <a:p>
            <a:r>
              <a:rPr lang="pt-BR" dirty="0" smtClean="0"/>
              <a:t>Total de unidades ofertadas 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8663354" y="6362700"/>
            <a:ext cx="480646" cy="495300"/>
          </a:xfrm>
        </p:spPr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24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890954" y="1205293"/>
          <a:ext cx="7980903" cy="4596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35590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0954" y="353684"/>
            <a:ext cx="7772400" cy="639762"/>
          </a:xfrm>
        </p:spPr>
        <p:txBody>
          <a:bodyPr>
            <a:normAutofit/>
          </a:bodyPr>
          <a:lstStyle/>
          <a:p>
            <a:r>
              <a:rPr lang="pt-BR" dirty="0" smtClean="0"/>
              <a:t>Vendas/Oferta (unidades)</a:t>
            </a: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25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/>
          </p:nvPr>
        </p:nvGraphicFramePr>
        <p:xfrm>
          <a:off x="1058397" y="5213541"/>
          <a:ext cx="1983741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3741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 smtClean="0">
                          <a:effectLst/>
                        </a:rPr>
                        <a:t>Média últimos 12 meses: 10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Gráfico 12"/>
          <p:cNvGraphicFramePr>
            <a:graphicFrameLocks/>
          </p:cNvGraphicFramePr>
          <p:nvPr>
            <p:extLst/>
          </p:nvPr>
        </p:nvGraphicFramePr>
        <p:xfrm>
          <a:off x="890954" y="903514"/>
          <a:ext cx="7973912" cy="3929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85872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475605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dirty="0" err="1" smtClean="0"/>
              <a:t>Distratos</a:t>
            </a:r>
            <a:r>
              <a:rPr lang="pt-BR" dirty="0" smtClean="0"/>
              <a:t>/Entregas (unidades)</a:t>
            </a:r>
            <a:r>
              <a:rPr lang="pt-BR" sz="1800" b="0" dirty="0" smtClean="0"/>
              <a:t/>
            </a:r>
            <a:br>
              <a:rPr lang="pt-BR" sz="1800" b="0" dirty="0" smtClean="0"/>
            </a:br>
            <a:r>
              <a:rPr lang="pt-BR" sz="1800" b="0" dirty="0" smtClean="0"/>
              <a:t>[Média móvel de 3 meses]</a:t>
            </a: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26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1003298" y="5190155"/>
          <a:ext cx="3013529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13529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>
                          <a:effectLst/>
                        </a:rPr>
                        <a:t>Acumulado </a:t>
                      </a:r>
                      <a:r>
                        <a:rPr lang="pt-BR" sz="1100" b="0" u="none" strike="noStrike" dirty="0" smtClean="0">
                          <a:effectLst/>
                        </a:rPr>
                        <a:t>últimos</a:t>
                      </a:r>
                      <a:r>
                        <a:rPr lang="pt-BR" sz="1100" b="0" u="none" strike="noStrike" baseline="0" dirty="0" smtClean="0">
                          <a:effectLst/>
                        </a:rPr>
                        <a:t> 12 meses: 24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Gráfico 11"/>
          <p:cNvGraphicFramePr>
            <a:graphicFrameLocks/>
          </p:cNvGraphicFramePr>
          <p:nvPr>
            <p:extLst/>
          </p:nvPr>
        </p:nvGraphicFramePr>
        <p:xfrm>
          <a:off x="867508" y="1115367"/>
          <a:ext cx="8004349" cy="3815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914400" y="5840139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Duas empresas foram retiradas da consolidação desse indicador por não apresentarem dados consistentes para todo o período da análise.</a:t>
            </a:r>
          </a:p>
        </p:txBody>
      </p:sp>
    </p:spTree>
    <p:extLst>
      <p:ext uri="{BB962C8B-B14F-4D97-AF65-F5344CB8AC3E}">
        <p14:creationId xmlns:p14="http://schemas.microsoft.com/office/powerpoint/2010/main" val="228140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475604"/>
            <a:ext cx="7772400" cy="639762"/>
          </a:xfrm>
        </p:spPr>
        <p:txBody>
          <a:bodyPr>
            <a:normAutofit fontScale="90000"/>
          </a:bodyPr>
          <a:lstStyle/>
          <a:p>
            <a:r>
              <a:rPr lang="pt-BR" dirty="0" err="1" smtClean="0"/>
              <a:t>Distratos</a:t>
            </a:r>
            <a:r>
              <a:rPr lang="pt-BR" dirty="0" smtClean="0"/>
              <a:t>/Oferta (unidades)</a:t>
            </a:r>
            <a:r>
              <a:rPr lang="pt-BR" sz="1800" b="0" dirty="0" smtClean="0"/>
              <a:t/>
            </a:r>
            <a:br>
              <a:rPr lang="pt-BR" sz="1800" b="0" dirty="0" smtClean="0"/>
            </a:br>
            <a:r>
              <a:rPr lang="pt-BR" sz="1800" b="0" dirty="0" smtClean="0"/>
              <a:t>[Média móvel de 3 meses]</a:t>
            </a:r>
            <a:endParaRPr lang="pt-BR" b="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A9EFE93-F287-4331-B820-9EE2079A43EA}" type="slidenum">
              <a:rPr lang="en-US" smtClean="0">
                <a:solidFill>
                  <a:prstClr val="white"/>
                </a:solidFill>
              </a:rPr>
              <a:pPr algn="r"/>
              <a:t>27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/>
          </p:nvPr>
        </p:nvGraphicFramePr>
        <p:xfrm>
          <a:off x="1069451" y="5230845"/>
          <a:ext cx="2577263" cy="209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7263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>
                          <a:effectLst/>
                        </a:rPr>
                        <a:t>Acumulado </a:t>
                      </a:r>
                      <a:r>
                        <a:rPr lang="pt-BR" sz="1100" b="0" u="none" strike="noStrike" dirty="0" smtClean="0">
                          <a:effectLst/>
                        </a:rPr>
                        <a:t>últimos</a:t>
                      </a:r>
                      <a:r>
                        <a:rPr lang="pt-BR" sz="1100" b="0" u="none" strike="noStrike" baseline="0" dirty="0" smtClean="0">
                          <a:effectLst/>
                        </a:rPr>
                        <a:t> 12 meses</a:t>
                      </a:r>
                      <a:r>
                        <a:rPr lang="pt-BR" sz="1100" b="0" u="none" strike="noStrike" dirty="0" smtClean="0">
                          <a:effectLst/>
                        </a:rPr>
                        <a:t>: 3,0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Gráfico 11"/>
          <p:cNvGraphicFramePr>
            <a:graphicFrameLocks/>
          </p:cNvGraphicFramePr>
          <p:nvPr>
            <p:extLst/>
          </p:nvPr>
        </p:nvGraphicFramePr>
        <p:xfrm>
          <a:off x="914400" y="1077156"/>
          <a:ext cx="7992625" cy="3821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914400" y="5894568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Duas empresas foram retiradas da consolidação desse indicador por não apresentarem dados consistentes para todo o período da análise.</a:t>
            </a:r>
          </a:p>
        </p:txBody>
      </p:sp>
    </p:spTree>
    <p:extLst>
      <p:ext uri="{BB962C8B-B14F-4D97-AF65-F5344CB8AC3E}">
        <p14:creationId xmlns:p14="http://schemas.microsoft.com/office/powerpoint/2010/main" val="3968068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00165" y="497571"/>
            <a:ext cx="7772400" cy="631208"/>
          </a:xfrm>
        </p:spPr>
        <p:txBody>
          <a:bodyPr>
            <a:normAutofit fontScale="90000"/>
          </a:bodyPr>
          <a:lstStyle/>
          <a:p>
            <a:r>
              <a:rPr lang="pt-BR" sz="3200" dirty="0" smtClean="0"/>
              <a:t/>
            </a:r>
            <a:br>
              <a:rPr lang="pt-BR" sz="3200" dirty="0" smtClean="0"/>
            </a:br>
            <a:r>
              <a:rPr lang="pt-BR" dirty="0" smtClean="0"/>
              <a:t>Taxa de Inadimplência </a:t>
            </a:r>
            <a:r>
              <a:rPr lang="pt-BR" sz="2700" dirty="0" smtClean="0"/>
              <a:t/>
            </a:r>
            <a:br>
              <a:rPr lang="pt-BR" sz="2700" dirty="0" smtClean="0"/>
            </a:br>
            <a:r>
              <a:rPr lang="pt-BR" sz="1800" b="0" dirty="0"/>
              <a:t>[</a:t>
            </a:r>
            <a:r>
              <a:rPr lang="pt-BR" sz="1800" b="0" dirty="0" smtClean="0"/>
              <a:t>Saldo </a:t>
            </a:r>
            <a:r>
              <a:rPr lang="pt-BR" sz="1800" b="0" dirty="0"/>
              <a:t>em atraso </a:t>
            </a:r>
            <a:r>
              <a:rPr lang="pt-BR" sz="1800" b="0" dirty="0" smtClean="0"/>
              <a:t>potencial (R$)/</a:t>
            </a:r>
            <a:r>
              <a:rPr lang="pt-BR" sz="1800" b="0" dirty="0"/>
              <a:t>Saldo </a:t>
            </a:r>
            <a:r>
              <a:rPr lang="pt-BR" sz="1800" b="0" dirty="0" smtClean="0"/>
              <a:t>credor (R$)]</a:t>
            </a:r>
            <a:r>
              <a:rPr lang="pt-BR" sz="1800" dirty="0">
                <a:solidFill>
                  <a:srgbClr val="FF0000"/>
                </a:solidFill>
              </a:rPr>
              <a:t/>
            </a:r>
            <a:br>
              <a:rPr lang="pt-BR" sz="1800" dirty="0">
                <a:solidFill>
                  <a:srgbClr val="FF0000"/>
                </a:solidFill>
              </a:rPr>
            </a:br>
            <a:r>
              <a:rPr lang="pt-BR" sz="1800" dirty="0" smtClean="0">
                <a:solidFill>
                  <a:srgbClr val="FF0000"/>
                </a:solidFill>
              </a:rPr>
              <a:t/>
            </a:r>
            <a:br>
              <a:rPr lang="pt-BR" sz="1800" dirty="0" smtClean="0">
                <a:solidFill>
                  <a:srgbClr val="FF0000"/>
                </a:solidFill>
              </a:rPr>
            </a:br>
            <a:endParaRPr lang="pt-BR" sz="1800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EFE93-F287-4331-B820-9EE2079A43EA}" type="slidenum">
              <a:rPr lang="en-US" smtClean="0">
                <a:solidFill>
                  <a:prstClr val="white"/>
                </a:solidFill>
              </a:rPr>
              <a:pPr/>
              <a:t>28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13" name="Tabela 12"/>
          <p:cNvGraphicFramePr>
            <a:graphicFrameLocks noGrp="1"/>
          </p:cNvGraphicFramePr>
          <p:nvPr>
            <p:extLst/>
          </p:nvPr>
        </p:nvGraphicFramePr>
        <p:xfrm>
          <a:off x="1004135" y="5246199"/>
          <a:ext cx="1986085" cy="419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6471"/>
                <a:gridCol w="809614"/>
              </a:tblGrid>
              <a:tr h="209550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100" b="0" u="none" strike="noStrike" dirty="0" smtClean="0">
                          <a:effectLst/>
                        </a:rPr>
                        <a:t>Média</a:t>
                      </a:r>
                      <a:r>
                        <a:rPr lang="pt-BR" sz="1100" b="0" u="none" strike="noStrike" baseline="0" dirty="0" smtClean="0">
                          <a:effectLst/>
                        </a:rPr>
                        <a:t> últimos 12 meses</a:t>
                      </a:r>
                      <a:r>
                        <a:rPr lang="pt-BR" sz="1100" b="0" u="none" strike="noStrike" dirty="0" smtClean="0">
                          <a:effectLst/>
                        </a:rPr>
                        <a:t>: 12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09550">
                <a:tc>
                  <a:txBody>
                    <a:bodyPr/>
                    <a:lstStyle/>
                    <a:p>
                      <a:pPr algn="l" fontAlgn="b"/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Gráfico 14"/>
          <p:cNvGraphicFramePr>
            <a:graphicFrameLocks/>
          </p:cNvGraphicFramePr>
          <p:nvPr>
            <p:extLst/>
          </p:nvPr>
        </p:nvGraphicFramePr>
        <p:xfrm>
          <a:off x="914400" y="1104502"/>
          <a:ext cx="7979229" cy="3848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914400" y="5894568"/>
            <a:ext cx="7772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t-BR" sz="900" dirty="0" smtClean="0">
                <a:solidFill>
                  <a:prstClr val="black"/>
                </a:solidFill>
                <a:latin typeface="Trebuchet MS"/>
                <a:cs typeface="+mn-cs"/>
              </a:rPr>
              <a:t>Obs.: Três empresas foram retiradas da consolidação desse indicador por não apresentarem dados consistentes para todo o período da análise.</a:t>
            </a:r>
          </a:p>
        </p:txBody>
      </p:sp>
    </p:spTree>
    <p:extLst>
      <p:ext uri="{BB962C8B-B14F-4D97-AF65-F5344CB8AC3E}">
        <p14:creationId xmlns:p14="http://schemas.microsoft.com/office/powerpoint/2010/main" val="2717080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959429" y="2191260"/>
            <a:ext cx="631767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uardo Zylberstajn</a:t>
            </a:r>
            <a:endParaRPr lang="pt-BR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zylberstajn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runo Oliv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liva@fipe.org.b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son Oliveir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pt-BR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son.oliveira@fipe.org.br</a:t>
            </a:r>
            <a:endParaRPr lang="pt-BR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t-BR" sz="2400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11) 3767-1764</a:t>
            </a:r>
            <a:endParaRPr lang="pt-BR" sz="2400" b="1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pt-BR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Imagem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247" y="318655"/>
            <a:ext cx="1409700" cy="12192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528" y="548089"/>
            <a:ext cx="3327262" cy="760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149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dirty="0">
                <a:latin typeface="BlissL" panose="02000506030000020004" pitchFamily="2" charset="0"/>
              </a:rPr>
              <a:t> </a:t>
            </a:r>
            <a:r>
              <a:rPr lang="pt-BR" sz="1700" dirty="0" smtClean="0">
                <a:latin typeface="BlissL" panose="02000506030000020004" pitchFamily="2" charset="0"/>
              </a:rPr>
              <a:t>VOCÊ </a:t>
            </a:r>
            <a:r>
              <a:rPr lang="pt-BR" sz="1700" dirty="0">
                <a:latin typeface="BlissL" panose="02000506030000020004" pitchFamily="2" charset="0"/>
              </a:rPr>
              <a:t>NÃO PODERÁ</a:t>
            </a:r>
            <a:r>
              <a:rPr lang="pt-BR" sz="1700" dirty="0" smtClean="0">
                <a:latin typeface="BlissL" panose="02000506030000020004" pitchFamily="2" charset="0"/>
              </a:rPr>
              <a:t>: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1. Discutir ou trocar informações que tratem de ou sugiram:</a:t>
            </a:r>
          </a:p>
          <a:p>
            <a:r>
              <a:rPr lang="pt-BR" sz="1700" dirty="0">
                <a:latin typeface="BlissL" panose="02000506030000020004" pitchFamily="2" charset="0"/>
              </a:rPr>
              <a:t>a) Preços praticados por sua empresa, alterações ou projeções de preços, remarcações, descontos ou política, provisões, condições de crédito ou dados relativos a atribuição de preços, custos, produção, capacidade, inventários, vendas de forma individualizada e outros dados correlat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b) </a:t>
            </a:r>
            <a:r>
              <a:rPr lang="pt-BR" sz="1700" dirty="0" smtClean="0">
                <a:latin typeface="BlissL" panose="02000506030000020004" pitchFamily="2" charset="0"/>
              </a:rPr>
              <a:t>Perspectivas </a:t>
            </a:r>
            <a:r>
              <a:rPr lang="pt-BR" sz="1700" dirty="0">
                <a:latin typeface="BlissL" panose="02000506030000020004" pitchFamily="2" charset="0"/>
              </a:rPr>
              <a:t>ou projeções de mercado, capacidade atual ou futura e inventári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c) Ofertas a serem oferecidas para empreendimentos específic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d) assuntos relativos a fornecedores ou clientes individuais reais ou potenciais, que possam ter o efeito de exclusão dos fornecedores ou clientes em questão, de qualquer mercado ou de influenciar a condução dos negócios de empresas com os mesm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e) informações sobre onde projeta-se atuar ou deixar de atuar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r>
              <a:rPr lang="pt-BR" sz="1700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2. Discutir ou trocar informações, mesmo por brincadeira, relativas aos assuntos acima, durante quaisquer encontros sociais, incidentais a quaisquer reuniõe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A ABRAINC desempenha papel de responsabilidade ética e de boa governança corporativa no setor das incorporadoras e agradece seus associados, autoridades, membros do corpo administrativo, seus consultores e participantes a atenção e respeito às disposições constantes nesta instrução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8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126578" y="44624"/>
            <a:ext cx="7397750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145" fontAlgn="base" hangingPunct="0">
              <a:spcAft>
                <a:spcPct val="0"/>
              </a:spcAft>
            </a:pPr>
            <a:r>
              <a:rPr lang="pt-BR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98782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242888" y="56351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Pauta</a:t>
            </a:r>
            <a:endParaRPr lang="en-US" sz="24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15363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3077" name="Retângulo 7"/>
          <p:cNvSpPr>
            <a:spLocks noChangeArrowheads="1"/>
          </p:cNvSpPr>
          <p:nvPr/>
        </p:nvSpPr>
        <p:spPr bwMode="auto">
          <a:xfrm>
            <a:off x="179388" y="620688"/>
            <a:ext cx="8624887" cy="372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Atualizações</a:t>
            </a:r>
            <a:r>
              <a:rPr lang="pt-BR" sz="1700" dirty="0">
                <a:latin typeface="BlissL" panose="02000506030000020004" pitchFamily="2" charset="0"/>
              </a:rPr>
              <a:t> – 9</a:t>
            </a:r>
            <a:r>
              <a:rPr lang="pt-BR" sz="1700" dirty="0" smtClean="0">
                <a:latin typeface="BlissL" panose="02000506030000020004" pitchFamily="2" charset="0"/>
              </a:rPr>
              <a:t>h </a:t>
            </a:r>
            <a:r>
              <a:rPr lang="pt-BR" sz="1700" dirty="0">
                <a:latin typeface="BlissL" panose="02000506030000020004" pitchFamily="2" charset="0"/>
              </a:rPr>
              <a:t>às </a:t>
            </a:r>
            <a:r>
              <a:rPr lang="pt-BR" sz="1700" dirty="0" smtClean="0">
                <a:latin typeface="BlissL" panose="02000506030000020004" pitchFamily="2" charset="0"/>
              </a:rPr>
              <a:t> 9:30h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FRS, SGA, Registros, </a:t>
            </a:r>
            <a:r>
              <a:rPr lang="pt-BR" sz="1700" dirty="0" err="1" smtClean="0">
                <a:latin typeface="BlissL" panose="02000506030000020004" pitchFamily="2" charset="0"/>
              </a:rPr>
              <a:t>Distratos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Discussão sobre </a:t>
            </a:r>
            <a:r>
              <a:rPr lang="pt-BR" sz="1700" b="1" dirty="0" err="1" smtClean="0">
                <a:latin typeface="BlissL" panose="02000506030000020004" pitchFamily="2" charset="0"/>
              </a:rPr>
              <a:t>Funding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>
                <a:latin typeface="BlissL" panose="02000506030000020004" pitchFamily="2" charset="0"/>
              </a:rPr>
              <a:t>9</a:t>
            </a:r>
            <a:r>
              <a:rPr lang="pt-BR" sz="1700" dirty="0" smtClean="0">
                <a:latin typeface="BlissL" panose="02000506030000020004" pitchFamily="2" charset="0"/>
              </a:rPr>
              <a:t>:30h às 10:30h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xigibilidade, Mapa 4, Enquadramento, FGTS, Alternativ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Informações </a:t>
            </a:r>
            <a:r>
              <a:rPr lang="pt-BR" sz="1700" b="1" dirty="0">
                <a:latin typeface="BlissL" panose="02000506030000020004" pitchFamily="2" charset="0"/>
              </a:rPr>
              <a:t>FIPE – apresentação de relatório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dirty="0" smtClean="0">
                <a:latin typeface="BlissL" panose="02000506030000020004" pitchFamily="2" charset="0"/>
              </a:rPr>
              <a:t>10:30h </a:t>
            </a:r>
            <a:r>
              <a:rPr lang="pt-BR" sz="1700" dirty="0">
                <a:latin typeface="BlissL" panose="02000506030000020004" pitchFamily="2" charset="0"/>
              </a:rPr>
              <a:t>às </a:t>
            </a:r>
            <a:r>
              <a:rPr lang="pt-BR" sz="1700" dirty="0" smtClean="0">
                <a:latin typeface="BlissL" panose="02000506030000020004" pitchFamily="2" charset="0"/>
              </a:rPr>
              <a:t>11h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3182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</a:t>
            </a: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IFRS, Modelo de Vendas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7981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Atualizações 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251520" y="692696"/>
            <a:ext cx="8624887" cy="5543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>
                <a:latin typeface="BlissL" panose="02000506030000020004" pitchFamily="2" charset="0"/>
              </a:rPr>
              <a:t>Adequação da contabilidade ao IFRS </a:t>
            </a:r>
            <a:r>
              <a:rPr lang="pt-BR" sz="1700" dirty="0">
                <a:latin typeface="BlissL" panose="02000506030000020004" pitchFamily="2" charset="0"/>
              </a:rPr>
              <a:t>– 2016/2017 -  reunião 23/4 – Gafisa, MRV, Rossi, HM, </a:t>
            </a:r>
            <a:r>
              <a:rPr lang="pt-BR" sz="1700" dirty="0" err="1">
                <a:latin typeface="BlissL" panose="02000506030000020004" pitchFamily="2" charset="0"/>
              </a:rPr>
              <a:t>Rodobens</a:t>
            </a:r>
            <a:r>
              <a:rPr lang="pt-BR" sz="1700" dirty="0">
                <a:latin typeface="BlissL" panose="02000506030000020004" pitchFamily="2" charset="0"/>
              </a:rPr>
              <a:t>, Brookfield, Direcional, Odebrecht, </a:t>
            </a:r>
            <a:r>
              <a:rPr lang="pt-BR" sz="1700" dirty="0" err="1">
                <a:latin typeface="BlissL" panose="02000506030000020004" pitchFamily="2" charset="0"/>
              </a:rPr>
              <a:t>Yuny</a:t>
            </a:r>
            <a:r>
              <a:rPr lang="pt-BR" sz="1700" dirty="0">
                <a:latin typeface="BlissL" panose="02000506030000020004" pitchFamily="2" charset="0"/>
              </a:rPr>
              <a:t>, Trisul, Cury, </a:t>
            </a:r>
            <a:r>
              <a:rPr lang="pt-BR" sz="1700" dirty="0" err="1">
                <a:latin typeface="BlissL" panose="02000506030000020004" pitchFamily="2" charset="0"/>
              </a:rPr>
              <a:t>Even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Preferência: IFRS com reconhecimento das receitas ao longo do tempo, desde que sem risco de ressalvas </a:t>
            </a:r>
          </a:p>
          <a:p>
            <a:r>
              <a:rPr lang="pt-BR" sz="1700" dirty="0">
                <a:latin typeface="BlissL" panose="02000506030000020004" pitchFamily="2" charset="0"/>
              </a:rPr>
              <a:t> Evento </a:t>
            </a:r>
            <a:r>
              <a:rPr lang="pt-BR" sz="1700" dirty="0" err="1">
                <a:latin typeface="BlissL" panose="02000506030000020004" pitchFamily="2" charset="0"/>
              </a:rPr>
              <a:t>Abrasca</a:t>
            </a:r>
            <a:r>
              <a:rPr lang="pt-BR" sz="1700" dirty="0">
                <a:latin typeface="BlissL" panose="02000506030000020004" pitchFamily="2" charset="0"/>
              </a:rPr>
              <a:t> e PWC  e posterior reunião para alinhamento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união </a:t>
            </a:r>
            <a:r>
              <a:rPr lang="pt-BR" sz="1700" dirty="0" err="1">
                <a:latin typeface="BlissL" panose="02000506030000020004" pitchFamily="2" charset="0"/>
              </a:rPr>
              <a:t>Abrasca</a:t>
            </a:r>
            <a:r>
              <a:rPr lang="pt-BR" sz="1700" dirty="0">
                <a:latin typeface="BlissL" panose="02000506030000020004" pitchFamily="2" charset="0"/>
              </a:rPr>
              <a:t> e </a:t>
            </a:r>
            <a:r>
              <a:rPr lang="pt-BR" sz="1700" dirty="0" err="1">
                <a:latin typeface="BlissL" panose="02000506030000020004" pitchFamily="2" charset="0"/>
              </a:rPr>
              <a:t>Ibracon</a:t>
            </a:r>
            <a:r>
              <a:rPr lang="pt-BR" sz="1700" dirty="0">
                <a:latin typeface="BlissL" panose="02000506030000020004" pitchFamily="2" charset="0"/>
              </a:rPr>
              <a:t> após evento ado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Resgatar argumentação utilizada em 2008 (Parecer DGCGT Advogados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finir possível contratação de consultoria: Eliseu Martins (FEA-USP) ou José Carlos Marion (FEA-USP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PMCMV3 - </a:t>
            </a:r>
            <a:r>
              <a:rPr lang="pt-BR" sz="1700" dirty="0">
                <a:latin typeface="BlissL" panose="02000506030000020004" pitchFamily="2" charset="0"/>
              </a:rPr>
              <a:t>Reuniões com Min. Planejamento, </a:t>
            </a:r>
            <a:r>
              <a:rPr lang="pt-BR" sz="1700" dirty="0" err="1">
                <a:latin typeface="BlissL" panose="02000506030000020004" pitchFamily="2" charset="0"/>
              </a:rPr>
              <a:t>Min.Cidades</a:t>
            </a:r>
            <a:r>
              <a:rPr lang="pt-BR" sz="1700" dirty="0">
                <a:latin typeface="BlissL" panose="02000506030000020004" pitchFamily="2" charset="0"/>
              </a:rPr>
              <a:t> e CEF</a:t>
            </a: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MCMV2 – alinhamentos necessários – definição Min. Nelson nesta sema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Faixa 1 FAR– pagamentos – definições esperadas para esta sema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Faixa 1 FGTS -  desenh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>
                <a:latin typeface="BlissL" panose="02000506030000020004" pitchFamily="2" charset="0"/>
              </a:rPr>
              <a:t>Projeto FGTS – Eduardo Cunha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SGA</a:t>
            </a:r>
            <a:r>
              <a:rPr lang="pt-BR" sz="1700" dirty="0">
                <a:latin typeface="BlissL" panose="02000506030000020004" pitchFamily="2" charset="0"/>
              </a:rPr>
              <a:t> – avanço com planilha e indicador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i="1" dirty="0">
                <a:latin typeface="BlissL" panose="02000506030000020004" pitchFamily="2" charset="0"/>
              </a:rPr>
              <a:t>Back office </a:t>
            </a:r>
            <a:r>
              <a:rPr lang="pt-BR" sz="1700" dirty="0">
                <a:latin typeface="BlissL" panose="02000506030000020004" pitchFamily="2" charset="0"/>
              </a:rPr>
              <a:t>– Contas a Pagar, Contas a Receber, Tesouraria, Repasse, Crédito, </a:t>
            </a:r>
            <a:r>
              <a:rPr lang="pt-BR" sz="1700" dirty="0" err="1">
                <a:latin typeface="BlissL" panose="02000506030000020004" pitchFamily="2" charset="0"/>
              </a:rPr>
              <a:t>Depto</a:t>
            </a:r>
            <a:r>
              <a:rPr lang="pt-BR" sz="1700" dirty="0">
                <a:latin typeface="BlissL" panose="02000506030000020004" pitchFamily="2" charset="0"/>
              </a:rPr>
              <a:t> Pessoal, RH</a:t>
            </a:r>
            <a:r>
              <a:rPr lang="pt-BR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latin typeface="BlissL" panose="02000506030000020004" pitchFamily="2" charset="0"/>
              </a:rPr>
              <a:t>Grupo inicial - </a:t>
            </a:r>
            <a:r>
              <a:rPr lang="pt-BR" sz="1600" dirty="0" err="1">
                <a:latin typeface="BlissL" panose="02000506030000020004" pitchFamily="2" charset="0"/>
              </a:rPr>
              <a:t>Cyrela</a:t>
            </a:r>
            <a:r>
              <a:rPr lang="pt-BR" sz="1600" dirty="0">
                <a:latin typeface="BlissL" panose="02000506030000020004" pitchFamily="2" charset="0"/>
              </a:rPr>
              <a:t>, Rossi, Tecnisa, MRV, Cury – a ser estendido aos demais com formatação encaminhada</a:t>
            </a:r>
          </a:p>
          <a:p>
            <a:endParaRPr lang="pt-BR" sz="1700" b="1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5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2</a:t>
            </a:r>
          </a:p>
        </p:txBody>
      </p:sp>
      <p:sp>
        <p:nvSpPr>
          <p:cNvPr id="11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1713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529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Registro </a:t>
            </a:r>
            <a:r>
              <a:rPr lang="pt-BR" sz="1700" b="1" dirty="0">
                <a:latin typeface="BlissL" panose="02000506030000020004" pitchFamily="2" charset="0"/>
              </a:rPr>
              <a:t>Eletrônico 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fluxo eletrônico de extrato (e não contrato) para Registro</a:t>
            </a:r>
            <a:r>
              <a:rPr lang="pt-BR" sz="1700" b="1" dirty="0">
                <a:latin typeface="BlissL" panose="02000506030000020004" pitchFamily="2" charset="0"/>
              </a:rPr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RISP: </a:t>
            </a:r>
            <a:r>
              <a:rPr lang="pt-BR" sz="1700" dirty="0">
                <a:latin typeface="BlissL" panose="02000506030000020004" pitchFamily="2" charset="0"/>
              </a:rPr>
              <a:t>Registro Eletrônico pronto em SP, ES, PE, RO, MS, MT, PA, SC e RS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ETIP/ ARISP – OK – 1º </a:t>
            </a:r>
            <a:r>
              <a:rPr lang="pt-BR" sz="1700" dirty="0">
                <a:latin typeface="BlissL" panose="02000506030000020004" pitchFamily="2" charset="0"/>
              </a:rPr>
              <a:t>registo já obtido pela Caixa - 4/dezembro - 1º RI de S. Paul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ilotos </a:t>
            </a:r>
            <a:r>
              <a:rPr lang="pt-BR" sz="1700" dirty="0">
                <a:latin typeface="BlissL" panose="02000506030000020004" pitchFamily="2" charset="0"/>
              </a:rPr>
              <a:t>– 8º RI, 17º RI SP – PDG </a:t>
            </a:r>
            <a:r>
              <a:rPr lang="pt-BR" sz="1700" dirty="0" smtClean="0">
                <a:latin typeface="BlissL" panose="02000506030000020004" pitchFamily="2" charset="0"/>
              </a:rPr>
              <a:t>apresenta proje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sulta Pública CNJ – início de 2015 - reações negativ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Busca de alternativ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Portal de Documentos </a:t>
            </a:r>
            <a:r>
              <a:rPr lang="pt-BR" sz="1700" dirty="0" smtClean="0">
                <a:latin typeface="BlissL" panose="02000506030000020004" pitchFamily="2" charset="0"/>
              </a:rPr>
              <a:t>– Luiz França (contatos também via MRV no início do an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Empresa com vasta experiência no setor e investidor forte (50% JP Morga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Solução de registro eletrônico mais pontual, com pilotos em cartóri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isponibilização de empreendimentos para Pilotos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111306"/>
            <a:ext cx="8696325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/>
              <a:t>Registro Eletrônico </a:t>
            </a:r>
            <a:endParaRPr lang="en-US" dirty="0">
              <a:sym typeface="Arial" pitchFamily="34" charset="0"/>
            </a:endParaRPr>
          </a:p>
        </p:txBody>
      </p:sp>
      <p:sp>
        <p:nvSpPr>
          <p:cNvPr id="6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6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3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696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827584" y="2060848"/>
            <a:ext cx="7697787" cy="207235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Distratos</a:t>
            </a:r>
            <a:r>
              <a:rPr lang="en-US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8701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5789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Audiência </a:t>
            </a:r>
            <a:r>
              <a:rPr lang="pt-BR" sz="1700" b="1" dirty="0">
                <a:latin typeface="BlissL" panose="02000506030000020004" pitchFamily="2" charset="0"/>
              </a:rPr>
              <a:t>Pública </a:t>
            </a:r>
            <a:r>
              <a:rPr lang="pt-BR" sz="1700" dirty="0">
                <a:latin typeface="BlissL" panose="02000506030000020004" pitchFamily="2" charset="0"/>
              </a:rPr>
              <a:t>no Comitê de Direitos do Consumidor na Câmara dos Deputados sobre supostos abusos cometidos pelo setor  - </a:t>
            </a:r>
            <a:r>
              <a:rPr lang="pt-BR" sz="1700" dirty="0" smtClean="0">
                <a:latin typeface="BlissL" panose="02000506030000020004" pitchFamily="2" charset="0"/>
              </a:rPr>
              <a:t>Dep. Ely Correia Filho – 13/5 – CII, </a:t>
            </a:r>
            <a:r>
              <a:rPr lang="pt-BR" sz="1700" dirty="0" err="1" smtClean="0">
                <a:latin typeface="BlissL" panose="02000506030000020004" pitchFamily="2" charset="0"/>
              </a:rPr>
              <a:t>Senacon</a:t>
            </a:r>
            <a:r>
              <a:rPr lang="pt-BR" sz="1700" dirty="0" smtClean="0">
                <a:latin typeface="BlissL" panose="02000506030000020004" pitchFamily="2" charset="0"/>
              </a:rPr>
              <a:t>, OAB (Marcelo </a:t>
            </a:r>
            <a:r>
              <a:rPr lang="pt-BR" sz="1700" dirty="0" err="1" smtClean="0">
                <a:latin typeface="BlissL" panose="02000506030000020004" pitchFamily="2" charset="0"/>
              </a:rPr>
              <a:t>Manhães</a:t>
            </a:r>
            <a:r>
              <a:rPr lang="pt-BR" sz="1700" dirty="0" smtClean="0">
                <a:latin typeface="BlissL" panose="02000506030000020004" pitchFamily="2" charset="0"/>
              </a:rPr>
              <a:t>)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láusula de Tolerância – atraso de obr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ndomínio antes da entreg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Direcionamento para banc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ntrato de Adesã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agem – venda casad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volução – PL 122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Tratamento mais próximo de compradore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u="sng" dirty="0">
                <a:hlinkClick r:id="rId3"/>
              </a:rPr>
              <a:t>http://www2.camara.leg.br/atividade-legislativa/webcamara/arquivos/recentes/videoArquivo?codSessao=52338#videoTitulo</a:t>
            </a:r>
            <a:endParaRPr lang="pt-BR" sz="1600" dirty="0"/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PL 1220/15- </a:t>
            </a:r>
            <a:r>
              <a:rPr lang="pt-BR" sz="1700" dirty="0">
                <a:latin typeface="BlissL" panose="02000506030000020004" pitchFamily="2" charset="0"/>
              </a:rPr>
              <a:t>Celso Russomano – retenção de 10%, devolução em 30 dias com juros de 1% e correção de todas as parcelas, direito de distrato unilateral pelo </a:t>
            </a:r>
            <a:r>
              <a:rPr lang="pt-BR" sz="1700" dirty="0" smtClean="0">
                <a:latin typeface="BlissL" panose="02000506030000020004" pitchFamily="2" charset="0"/>
              </a:rPr>
              <a:t>comprador. Reunião </a:t>
            </a:r>
            <a:r>
              <a:rPr lang="pt-BR" sz="1700" dirty="0">
                <a:latin typeface="BlissL" panose="02000506030000020004" pitchFamily="2" charset="0"/>
              </a:rPr>
              <a:t>com o Deputado </a:t>
            </a:r>
            <a:r>
              <a:rPr lang="pt-BR" sz="1700" dirty="0" smtClean="0">
                <a:latin typeface="BlissL" panose="02000506030000020004" pitchFamily="2" charset="0"/>
              </a:rPr>
              <a:t>– 18/5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Transparência </a:t>
            </a:r>
            <a:r>
              <a:rPr lang="pt-BR" sz="1700" dirty="0">
                <a:latin typeface="BlissL" panose="02000506030000020004" pitchFamily="2" charset="0"/>
              </a:rPr>
              <a:t>e o equilíbrio na relação com o comprador são altamente desejáveis para todos.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Distratos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e das devoluções, previstas no artigo 53 do </a:t>
            </a:r>
            <a:r>
              <a:rPr lang="pt-BR" sz="1700" dirty="0" smtClean="0">
                <a:latin typeface="BlissL" panose="02000506030000020004" pitchFamily="2" charset="0"/>
              </a:rPr>
              <a:t>CDC. Interdependência – incorporadora entrega, comprador pague e seja responsável </a:t>
            </a:r>
            <a:r>
              <a:rPr lang="pt-BR" sz="1700" dirty="0">
                <a:latin typeface="BlissL" panose="02000506030000020004" pitchFamily="2" charset="0"/>
              </a:rPr>
              <a:t>pela decisão de compra tomada.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sistências por </a:t>
            </a:r>
            <a:r>
              <a:rPr lang="pt-BR" sz="1700" dirty="0">
                <a:latin typeface="BlissL" panose="02000506030000020004" pitchFamily="2" charset="0"/>
              </a:rPr>
              <a:t>conta de valorização inferior às expectativas </a:t>
            </a:r>
            <a:r>
              <a:rPr lang="pt-BR" sz="1700" dirty="0" smtClean="0">
                <a:latin typeface="BlissL" panose="02000506030000020004" pitchFamily="2" charset="0"/>
              </a:rPr>
              <a:t>iniciais prejudicam </a:t>
            </a:r>
            <a:r>
              <a:rPr lang="pt-BR" sz="1700" dirty="0">
                <a:latin typeface="BlissL" panose="02000506030000020004" pitchFamily="2" charset="0"/>
              </a:rPr>
              <a:t>o </a:t>
            </a:r>
            <a:r>
              <a:rPr lang="pt-BR" sz="1700" dirty="0" smtClean="0">
                <a:latin typeface="BlissL" panose="02000506030000020004" pitchFamily="2" charset="0"/>
              </a:rPr>
              <a:t>conjun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Detalhamento – INADEC; retirado do PL 1220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111306"/>
            <a:ext cx="8696325" cy="410365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>
            <a:defPPr>
              <a:defRPr lang="pt-BR"/>
            </a:defPPr>
            <a:lvl1pPr defTabSz="914145" hangingPunct="0">
              <a:defRPr sz="20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dirty="0">
                <a:sym typeface="Arial" pitchFamily="34" charset="0"/>
              </a:rPr>
              <a:t>Atualizações – </a:t>
            </a:r>
            <a:r>
              <a:rPr lang="pt-BR" dirty="0" err="1">
                <a:sym typeface="Arial" pitchFamily="34" charset="0"/>
              </a:rPr>
              <a:t>PLs</a:t>
            </a:r>
            <a:r>
              <a:rPr lang="pt-BR" dirty="0">
                <a:sym typeface="Arial" pitchFamily="34" charset="0"/>
              </a:rPr>
              <a:t>, outros</a:t>
            </a:r>
            <a:endParaRPr lang="en-US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4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4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2774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Wqp6MTXkq0Bd7oteqH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WY03Q4REGtgHdaAAxl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vciqj1wkOoTfToHkn2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rfgWoJKEiBtdlvhqvm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rJmefl20yNC54h8OrM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V1batE1UqpoTFn8PDD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F8s_xL8EChL7jyXfmq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BXyrCNEEeu8u5nAZ7W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zjOIUYQkGyEqpCsyRR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sKdWP5L0m3EqvWdXvd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q3CzpO5UWYrLJNNgpG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kBgckFRUq_.qCTZevP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KmtRz2uEqLG3fjbDnM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_nLcxnPE2FvvQRv9LY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5TflvFnEGqa5JbjrLP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o5_yh8fEOx7Cn8.r5O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uazaEimkegVwvE6Zkp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1zuPQLokSeYmLeUK7p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ONcBwe6UKiV37spyN2ug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M_on_target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PM_on_target">
  <a:themeElements>
    <a:clrScheme name="Flux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534</TotalTime>
  <Words>1575</Words>
  <Application>Microsoft Office PowerPoint</Application>
  <PresentationFormat>Apresentação na tela (4:3)</PresentationFormat>
  <Paragraphs>394</Paragraphs>
  <Slides>29</Slides>
  <Notes>10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9</vt:i4>
      </vt:variant>
    </vt:vector>
  </HeadingPairs>
  <TitlesOfParts>
    <vt:vector size="43" baseType="lpstr">
      <vt:lpstr>Arial</vt:lpstr>
      <vt:lpstr>BlissEB</vt:lpstr>
      <vt:lpstr>BlissL</vt:lpstr>
      <vt:lpstr>Calibri</vt:lpstr>
      <vt:lpstr>Calibri Light</vt:lpstr>
      <vt:lpstr>Helvetica</vt:lpstr>
      <vt:lpstr>Segoe UI</vt:lpstr>
      <vt:lpstr>Segoe UI Semilight</vt:lpstr>
      <vt:lpstr>Trebuchet MS</vt:lpstr>
      <vt:lpstr>Wingdings</vt:lpstr>
      <vt:lpstr>Tema do Office</vt:lpstr>
      <vt:lpstr>PM_on_target</vt:lpstr>
      <vt:lpstr>1_PM_on_target</vt:lpstr>
      <vt:lpstr>Gráfico</vt:lpstr>
      <vt:lpstr>Apresentação do PowerPoint</vt:lpstr>
      <vt:lpstr>Defesa da Concorrência </vt:lpstr>
      <vt:lpstr>Apresentação do PowerPoint</vt:lpstr>
      <vt:lpstr>Pauta</vt:lpstr>
      <vt:lpstr>Apresentação do PowerPoint</vt:lpstr>
      <vt:lpstr>Atualizações </vt:lpstr>
      <vt:lpstr>Apresentação do PowerPoint</vt:lpstr>
      <vt:lpstr>Apresentação do PowerPoint</vt:lpstr>
      <vt:lpstr>Apresentação do PowerPoint</vt:lpstr>
      <vt:lpstr>Distratos - Piloto Cyrela Itaú </vt:lpstr>
      <vt:lpstr>Apresentação do PowerPoint</vt:lpstr>
      <vt:lpstr>Apresentação do PowerPoint</vt:lpstr>
      <vt:lpstr>Apresentação do PowerPoint</vt:lpstr>
      <vt:lpstr>Apresentação do PowerPoint</vt:lpstr>
      <vt:lpstr>Bancos</vt:lpstr>
      <vt:lpstr>Apresentação do PowerPoint</vt:lpstr>
      <vt:lpstr>Apresentação do PowerPoint</vt:lpstr>
      <vt:lpstr>Apresentação do PowerPoint</vt:lpstr>
      <vt:lpstr>Introdução</vt:lpstr>
      <vt:lpstr> Unidades Lançadas </vt:lpstr>
      <vt:lpstr>VGV Lançado (R$ bilhões)</vt:lpstr>
      <vt:lpstr>Unidades Vendidas</vt:lpstr>
      <vt:lpstr>Valor das Vendas (R$ bilhões)</vt:lpstr>
      <vt:lpstr>Total de unidades ofertadas </vt:lpstr>
      <vt:lpstr>Vendas/Oferta (unidades)</vt:lpstr>
      <vt:lpstr>Distratos/Entregas (unidades) [Média móvel de 3 meses]</vt:lpstr>
      <vt:lpstr>Distratos/Oferta (unidades) [Média móvel de 3 meses]</vt:lpstr>
      <vt:lpstr> Taxa de Inadimplência  [Saldo em atraso potencial (R$)/Saldo credor (R$)]  </vt:lpstr>
      <vt:lpstr>Apresentação do PowerPoint</vt:lpstr>
    </vt:vector>
  </TitlesOfParts>
  <Company>BorghierhLow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arissa.santos</dc:creator>
  <cp:lastModifiedBy>Renato Ventura</cp:lastModifiedBy>
  <cp:revision>3202</cp:revision>
  <cp:lastPrinted>2014-08-22T11:18:02Z</cp:lastPrinted>
  <dcterms:created xsi:type="dcterms:W3CDTF">2009-08-13T21:08:28Z</dcterms:created>
  <dcterms:modified xsi:type="dcterms:W3CDTF">2015-05-21T12:00:23Z</dcterms:modified>
</cp:coreProperties>
</file>